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43"/>
  </p:notesMasterIdLst>
  <p:handoutMasterIdLst>
    <p:handoutMasterId r:id="rId44"/>
  </p:handoutMasterIdLst>
  <p:sldIdLst>
    <p:sldId id="10222" r:id="rId5"/>
    <p:sldId id="1735" r:id="rId6"/>
    <p:sldId id="10250" r:id="rId7"/>
    <p:sldId id="1786" r:id="rId8"/>
    <p:sldId id="10251" r:id="rId9"/>
    <p:sldId id="10243" r:id="rId10"/>
    <p:sldId id="10244" r:id="rId11"/>
    <p:sldId id="10252" r:id="rId12"/>
    <p:sldId id="10238" r:id="rId13"/>
    <p:sldId id="10253" r:id="rId14"/>
    <p:sldId id="10224" r:id="rId15"/>
    <p:sldId id="10246" r:id="rId16"/>
    <p:sldId id="10247" r:id="rId17"/>
    <p:sldId id="10265" r:id="rId18"/>
    <p:sldId id="10274" r:id="rId19"/>
    <p:sldId id="10266" r:id="rId20"/>
    <p:sldId id="10249" r:id="rId21"/>
    <p:sldId id="10267" r:id="rId22"/>
    <p:sldId id="10276" r:id="rId23"/>
    <p:sldId id="10268" r:id="rId24"/>
    <p:sldId id="10277" r:id="rId25"/>
    <p:sldId id="10269" r:id="rId26"/>
    <p:sldId id="10278" r:id="rId27"/>
    <p:sldId id="10270" r:id="rId28"/>
    <p:sldId id="10279" r:id="rId29"/>
    <p:sldId id="10271" r:id="rId30"/>
    <p:sldId id="10280" r:id="rId31"/>
    <p:sldId id="10272" r:id="rId32"/>
    <p:sldId id="10281" r:id="rId33"/>
    <p:sldId id="10273" r:id="rId34"/>
    <p:sldId id="10282" r:id="rId35"/>
    <p:sldId id="10254" r:id="rId36"/>
    <p:sldId id="10239" r:id="rId37"/>
    <p:sldId id="10248" r:id="rId38"/>
    <p:sldId id="10255" r:id="rId39"/>
    <p:sldId id="1796" r:id="rId40"/>
    <p:sldId id="1798" r:id="rId41"/>
    <p:sldId id="3129" r:id="rId42"/>
  </p:sldIdLst>
  <p:sldSz cx="12192000" cy="6858000"/>
  <p:notesSz cx="6858000" cy="9144000"/>
  <p:embeddedFontLst>
    <p:embeddedFont>
      <p:font typeface="Calibri" panose="020F0502020204030204" pitchFamily="34" charset="0"/>
      <p:regular r:id="rId45"/>
      <p:bold r:id="rId46"/>
      <p:italic r:id="rId47"/>
      <p:boldItalic r:id="rId48"/>
    </p:embeddedFont>
    <p:embeddedFont>
      <p:font typeface="Segoe UI" panose="020B0502040204020203" pitchFamily="34" charset="0"/>
      <p:regular r:id="rId49"/>
      <p:bold r:id="rId50"/>
      <p:italic r:id="rId51"/>
      <p:boldItalic r:id="rId52"/>
    </p:embeddedFont>
    <p:embeddedFont>
      <p:font typeface="Segoe UI Semibold" panose="020B0702040204020203" pitchFamily="34" charset="0"/>
      <p:bold r:id="rId53"/>
      <p:boldItalic r:id="rId54"/>
    </p:embeddedFont>
  </p:embeddedFontLst>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20E26B-4061-AA7B-217A-F27835ACEFCC}" name="Toby James" initials="TJ" userId="S::tojame@microsoft.com::4852c070-2e6b-4fbf-b108-1679f58fc2a2" providerId="AD"/>
  <p188:author id="{2C2B36A9-2036-82E3-70AF-FA0B03EF4E51}" name="Ajit Kotwal" initials="AK" userId="S::ajkotwal@microsoft.com::781b8ab5-6f9a-4511-aed5-b50cf9e67252" providerId="AD"/>
  <p188:author id="{D5C77FBB-3620-A16A-EEA3-BFC0661EA481}" name="Kuntal Ghoshal" initials="KG" userId="S::kughosha@microsoft.com::9365114f-3662-492a-8f44-5af3c15a21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EE4DDD-33DF-4ECC-B9D1-B5112552FCBE}" v="276" dt="2021-05-07T15:54:16.3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57" autoAdjust="0"/>
    <p:restoredTop sz="86397" autoAdjust="0"/>
  </p:normalViewPr>
  <p:slideViewPr>
    <p:cSldViewPr snapToGrid="0">
      <p:cViewPr varScale="1">
        <p:scale>
          <a:sx n="92" d="100"/>
          <a:sy n="92" d="100"/>
        </p:scale>
        <p:origin x="-2094" y="34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tags" Target="tags/tag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2.fntdata"/><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10.fntdata"/><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5.fntdata"/><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by James" userId="S::tojame@microsoft.com::4852c070-2e6b-4fbf-b108-1679f58fc2a2" providerId="AD" clId="Web-{C822075B-B9AC-C9C8-D4D9-8E0B67FD01AC}"/>
    <pc:docChg chg="">
      <pc:chgData name="Toby James" userId="S::tojame@microsoft.com::4852c070-2e6b-4fbf-b108-1679f58fc2a2" providerId="AD" clId="Web-{C822075B-B9AC-C9C8-D4D9-8E0B67FD01AC}" dt="2021-02-09T22:15:10.046" v="0"/>
      <pc:docMkLst>
        <pc:docMk/>
      </pc:docMkLst>
      <pc:sldChg chg="modCm">
        <pc:chgData name="Toby James" userId="S::tojame@microsoft.com::4852c070-2e6b-4fbf-b108-1679f58fc2a2" providerId="AD" clId="Web-{C822075B-B9AC-C9C8-D4D9-8E0B67FD01AC}" dt="2021-02-09T22:15:10.046" v="0"/>
        <pc:sldMkLst>
          <pc:docMk/>
          <pc:sldMk cId="3979634199" sldId="10260"/>
        </pc:sldMkLst>
      </pc:sldChg>
    </pc:docChg>
  </pc:docChgLst>
  <pc:docChgLst>
    <pc:chgData name="Ajit Kotwal" userId="S::ajkotwal@microsoft.com::781b8ab5-6f9a-4511-aed5-b50cf9e67252" providerId="AD" clId="Web-{17A5454C-BD8B-45DD-991A-3250E5DFC487}"/>
    <pc:docChg chg="modSld">
      <pc:chgData name="Ajit Kotwal" userId="S::ajkotwal@microsoft.com::781b8ab5-6f9a-4511-aed5-b50cf9e67252" providerId="AD" clId="Web-{17A5454C-BD8B-45DD-991A-3250E5DFC487}" dt="2021-02-09T22:04:38.337" v="293"/>
      <pc:docMkLst>
        <pc:docMk/>
      </pc:docMkLst>
      <pc:sldChg chg="addSp delSp modSp mod modCm chgLayout">
        <pc:chgData name="Ajit Kotwal" userId="S::ajkotwal@microsoft.com::781b8ab5-6f9a-4511-aed5-b50cf9e67252" providerId="AD" clId="Web-{17A5454C-BD8B-45DD-991A-3250E5DFC487}" dt="2021-02-09T22:04:38.337" v="293"/>
        <pc:sldMkLst>
          <pc:docMk/>
          <pc:sldMk cId="3549929259" sldId="10256"/>
        </pc:sldMkLst>
        <pc:spChg chg="add del mod ord">
          <ac:chgData name="Ajit Kotwal" userId="S::ajkotwal@microsoft.com::781b8ab5-6f9a-4511-aed5-b50cf9e67252" providerId="AD" clId="Web-{17A5454C-BD8B-45DD-991A-3250E5DFC487}" dt="2021-02-09T21:56:29.122" v="205"/>
          <ac:spMkLst>
            <pc:docMk/>
            <pc:sldMk cId="3549929259" sldId="10256"/>
            <ac:spMk id="3" creationId="{0AF4C424-64BC-410F-ADDD-CCF9E369832B}"/>
          </ac:spMkLst>
        </pc:spChg>
        <pc:spChg chg="add del mod ord">
          <ac:chgData name="Ajit Kotwal" userId="S::ajkotwal@microsoft.com::781b8ab5-6f9a-4511-aed5-b50cf9e67252" providerId="AD" clId="Web-{17A5454C-BD8B-45DD-991A-3250E5DFC487}" dt="2021-02-09T21:56:29.122" v="205"/>
          <ac:spMkLst>
            <pc:docMk/>
            <pc:sldMk cId="3549929259" sldId="10256"/>
            <ac:spMk id="4" creationId="{8C005B0D-4A43-4E29-B764-1EA12E547841}"/>
          </ac:spMkLst>
        </pc:spChg>
        <pc:spChg chg="mod ord">
          <ac:chgData name="Ajit Kotwal" userId="S::ajkotwal@microsoft.com::781b8ab5-6f9a-4511-aed5-b50cf9e67252" providerId="AD" clId="Web-{17A5454C-BD8B-45DD-991A-3250E5DFC487}" dt="2021-02-09T22:01:30.785" v="292" actId="20577"/>
          <ac:spMkLst>
            <pc:docMk/>
            <pc:sldMk cId="3549929259" sldId="10256"/>
            <ac:spMk id="8" creationId="{B641FCBC-9EF2-4AD6-AD44-163FDED01C39}"/>
          </ac:spMkLst>
        </pc:spChg>
        <pc:graphicFrameChg chg="add del modGraphic">
          <ac:chgData name="Ajit Kotwal" userId="S::ajkotwal@microsoft.com::781b8ab5-6f9a-4511-aed5-b50cf9e67252" providerId="AD" clId="Web-{17A5454C-BD8B-45DD-991A-3250E5DFC487}" dt="2021-02-09T21:56:38.919" v="207"/>
          <ac:graphicFrameMkLst>
            <pc:docMk/>
            <pc:sldMk cId="3549929259" sldId="10256"/>
            <ac:graphicFrameMk id="2" creationId="{4C1674E0-4254-4B52-BEA7-7456A6A6C76A}"/>
          </ac:graphicFrameMkLst>
        </pc:graphicFrameChg>
      </pc:sldChg>
    </pc:docChg>
  </pc:docChgLst>
  <pc:docChgLst>
    <pc:chgData name="Ajit Kotwal" userId="S::ajkotwal@microsoft.com::781b8ab5-6f9a-4511-aed5-b50cf9e67252" providerId="AD" clId="Web-{D7E4703A-E603-48ED-894F-F3A76FD9CBBD}"/>
    <pc:docChg chg="">
      <pc:chgData name="Ajit Kotwal" userId="S::ajkotwal@microsoft.com::781b8ab5-6f9a-4511-aed5-b50cf9e67252" providerId="AD" clId="Web-{D7E4703A-E603-48ED-894F-F3A76FD9CBBD}" dt="2021-02-11T20:45:07.881" v="0"/>
      <pc:docMkLst>
        <pc:docMk/>
      </pc:docMkLst>
      <pc:sldChg chg="modCm">
        <pc:chgData name="Ajit Kotwal" userId="S::ajkotwal@microsoft.com::781b8ab5-6f9a-4511-aed5-b50cf9e67252" providerId="AD" clId="Web-{D7E4703A-E603-48ED-894F-F3A76FD9CBBD}" dt="2021-02-11T20:45:07.881" v="0"/>
        <pc:sldMkLst>
          <pc:docMk/>
          <pc:sldMk cId="706792741" sldId="10259"/>
        </pc:sldMkLst>
      </pc:sldChg>
    </pc:docChg>
  </pc:docChgLst>
  <pc:docChgLst>
    <pc:chgData name="Ajit Kotwal" userId="S::ajkotwal@microsoft.com::781b8ab5-6f9a-4511-aed5-b50cf9e67252" providerId="AD" clId="Web-{84406352-D95D-49D2-A12E-A5DF2E5265F3}"/>
    <pc:docChg chg="modSld">
      <pc:chgData name="Ajit Kotwal" userId="S::ajkotwal@microsoft.com::781b8ab5-6f9a-4511-aed5-b50cf9e67252" providerId="AD" clId="Web-{84406352-D95D-49D2-A12E-A5DF2E5265F3}" dt="2021-02-07T21:29:54.280" v="3"/>
      <pc:docMkLst>
        <pc:docMk/>
      </pc:docMkLst>
      <pc:sldChg chg="modSp">
        <pc:chgData name="Ajit Kotwal" userId="S::ajkotwal@microsoft.com::781b8ab5-6f9a-4511-aed5-b50cf9e67252" providerId="AD" clId="Web-{84406352-D95D-49D2-A12E-A5DF2E5265F3}" dt="2021-02-07T21:29:16.074" v="1"/>
        <pc:sldMkLst>
          <pc:docMk/>
          <pc:sldMk cId="2495781146" sldId="10244"/>
        </pc:sldMkLst>
        <pc:spChg chg="mod">
          <ac:chgData name="Ajit Kotwal" userId="S::ajkotwal@microsoft.com::781b8ab5-6f9a-4511-aed5-b50cf9e67252" providerId="AD" clId="Web-{84406352-D95D-49D2-A12E-A5DF2E5265F3}" dt="2021-02-07T21:29:16.074" v="1"/>
          <ac:spMkLst>
            <pc:docMk/>
            <pc:sldMk cId="2495781146" sldId="10244"/>
            <ac:spMk id="9" creationId="{5F10B7DA-EBAD-49D8-8636-A3336D68F659}"/>
          </ac:spMkLst>
        </pc:spChg>
      </pc:sldChg>
      <pc:sldChg chg="modSp">
        <pc:chgData name="Ajit Kotwal" userId="S::ajkotwal@microsoft.com::781b8ab5-6f9a-4511-aed5-b50cf9e67252" providerId="AD" clId="Web-{84406352-D95D-49D2-A12E-A5DF2E5265F3}" dt="2021-02-07T21:29:54.280" v="3"/>
        <pc:sldMkLst>
          <pc:docMk/>
          <pc:sldMk cId="1090235674" sldId="10247"/>
        </pc:sldMkLst>
        <pc:spChg chg="mod">
          <ac:chgData name="Ajit Kotwal" userId="S::ajkotwal@microsoft.com::781b8ab5-6f9a-4511-aed5-b50cf9e67252" providerId="AD" clId="Web-{84406352-D95D-49D2-A12E-A5DF2E5265F3}" dt="2021-02-07T21:29:54.280" v="3"/>
          <ac:spMkLst>
            <pc:docMk/>
            <pc:sldMk cId="1090235674" sldId="10247"/>
            <ac:spMk id="9" creationId="{5F10B7DA-EBAD-49D8-8636-A3336D68F659}"/>
          </ac:spMkLst>
        </pc:spChg>
      </pc:sldChg>
    </pc:docChg>
  </pc:docChgLst>
  <pc:docChgLst>
    <pc:chgData name="Toby James" userId="4852c070-2e6b-4fbf-b108-1679f58fc2a2" providerId="ADAL" clId="{811CBC0F-460C-4ED0-9AF6-D1F065CF5CCE}"/>
    <pc:docChg chg="undo custSel addSld delSld modSld modSection">
      <pc:chgData name="Toby James" userId="4852c070-2e6b-4fbf-b108-1679f58fc2a2" providerId="ADAL" clId="{811CBC0F-460C-4ED0-9AF6-D1F065CF5CCE}" dt="2021-02-15T00:51:31.879" v="3528"/>
      <pc:docMkLst>
        <pc:docMk/>
      </pc:docMkLst>
      <pc:sldChg chg="modCm">
        <pc:chgData name="Toby James" userId="4852c070-2e6b-4fbf-b108-1679f58fc2a2" providerId="ADAL" clId="{811CBC0F-460C-4ED0-9AF6-D1F065CF5CCE}" dt="2021-02-15T00:51:31.879" v="3528"/>
        <pc:sldMkLst>
          <pc:docMk/>
          <pc:sldMk cId="1094870920" sldId="1735"/>
        </pc:sldMkLst>
      </pc:sldChg>
      <pc:sldChg chg="addCm">
        <pc:chgData name="Toby James" userId="4852c070-2e6b-4fbf-b108-1679f58fc2a2" providerId="ADAL" clId="{811CBC0F-460C-4ED0-9AF6-D1F065CF5CCE}" dt="2021-02-08T01:47:13.681" v="3"/>
        <pc:sldMkLst>
          <pc:docMk/>
          <pc:sldMk cId="2694433332" sldId="10224"/>
        </pc:sldMkLst>
      </pc:sldChg>
      <pc:sldChg chg="addCm">
        <pc:chgData name="Toby James" userId="4852c070-2e6b-4fbf-b108-1679f58fc2a2" providerId="ADAL" clId="{811CBC0F-460C-4ED0-9AF6-D1F065CF5CCE}" dt="2021-02-15T00:49:24.657" v="3526"/>
        <pc:sldMkLst>
          <pc:docMk/>
          <pc:sldMk cId="3869426496" sldId="10238"/>
        </pc:sldMkLst>
      </pc:sldChg>
      <pc:sldChg chg="addCm modCm">
        <pc:chgData name="Toby James" userId="4852c070-2e6b-4fbf-b108-1679f58fc2a2" providerId="ADAL" clId="{811CBC0F-460C-4ED0-9AF6-D1F065CF5CCE}" dt="2021-02-15T00:41:14.445" v="3524"/>
        <pc:sldMkLst>
          <pc:docMk/>
          <pc:sldMk cId="1247591511" sldId="10243"/>
        </pc:sldMkLst>
      </pc:sldChg>
      <pc:sldChg chg="modCm">
        <pc:chgData name="Toby James" userId="4852c070-2e6b-4fbf-b108-1679f58fc2a2" providerId="ADAL" clId="{811CBC0F-460C-4ED0-9AF6-D1F065CF5CCE}" dt="2021-02-15T00:49:51.534" v="3527"/>
        <pc:sldMkLst>
          <pc:docMk/>
          <pc:sldMk cId="2495781146" sldId="10244"/>
        </pc:sldMkLst>
      </pc:sldChg>
      <pc:sldChg chg="addCm">
        <pc:chgData name="Toby James" userId="4852c070-2e6b-4fbf-b108-1679f58fc2a2" providerId="ADAL" clId="{811CBC0F-460C-4ED0-9AF6-D1F065CF5CCE}" dt="2021-02-08T01:51:15.613" v="4"/>
        <pc:sldMkLst>
          <pc:docMk/>
          <pc:sldMk cId="1090235674" sldId="10247"/>
        </pc:sldMkLst>
      </pc:sldChg>
      <pc:sldChg chg="addSp delSp modSp new del mod chgLayout">
        <pc:chgData name="Toby James" userId="4852c070-2e6b-4fbf-b108-1679f58fc2a2" providerId="ADAL" clId="{811CBC0F-460C-4ED0-9AF6-D1F065CF5CCE}" dt="2021-02-08T02:21:32.660" v="361" actId="47"/>
        <pc:sldMkLst>
          <pc:docMk/>
          <pc:sldMk cId="715880757" sldId="10257"/>
        </pc:sldMkLst>
        <pc:spChg chg="mod ord">
          <ac:chgData name="Toby James" userId="4852c070-2e6b-4fbf-b108-1679f58fc2a2" providerId="ADAL" clId="{811CBC0F-460C-4ED0-9AF6-D1F065CF5CCE}" dt="2021-02-08T01:58:03.661" v="355" actId="700"/>
          <ac:spMkLst>
            <pc:docMk/>
            <pc:sldMk cId="715880757" sldId="10257"/>
            <ac:spMk id="2" creationId="{7E1B0572-570C-4037-A38C-B659EC3CF876}"/>
          </ac:spMkLst>
        </pc:spChg>
        <pc:spChg chg="add del mod ord">
          <ac:chgData name="Toby James" userId="4852c070-2e6b-4fbf-b108-1679f58fc2a2" providerId="ADAL" clId="{811CBC0F-460C-4ED0-9AF6-D1F065CF5CCE}" dt="2021-02-08T01:52:15.983" v="19" actId="700"/>
          <ac:spMkLst>
            <pc:docMk/>
            <pc:sldMk cId="715880757" sldId="10257"/>
            <ac:spMk id="3" creationId="{C34B7B07-CBDC-45CF-9A7F-FDABF4D544E7}"/>
          </ac:spMkLst>
        </pc:spChg>
        <pc:spChg chg="add mod ord">
          <ac:chgData name="Toby James" userId="4852c070-2e6b-4fbf-b108-1679f58fc2a2" providerId="ADAL" clId="{811CBC0F-460C-4ED0-9AF6-D1F065CF5CCE}" dt="2021-02-08T01:58:03.661" v="355" actId="700"/>
          <ac:spMkLst>
            <pc:docMk/>
            <pc:sldMk cId="715880757" sldId="10257"/>
            <ac:spMk id="4" creationId="{0B81F966-4463-48B8-9C82-E244BE1BCAE2}"/>
          </ac:spMkLst>
        </pc:spChg>
      </pc:sldChg>
      <pc:sldChg chg="add del">
        <pc:chgData name="Toby James" userId="4852c070-2e6b-4fbf-b108-1679f58fc2a2" providerId="ADAL" clId="{811CBC0F-460C-4ED0-9AF6-D1F065CF5CCE}" dt="2021-02-08T02:19:45.636" v="358" actId="47"/>
        <pc:sldMkLst>
          <pc:docMk/>
          <pc:sldMk cId="3496112624" sldId="10258"/>
        </pc:sldMkLst>
      </pc:sldChg>
      <pc:sldChg chg="modSp add mod addCm modCm">
        <pc:chgData name="Toby James" userId="4852c070-2e6b-4fbf-b108-1679f58fc2a2" providerId="ADAL" clId="{811CBC0F-460C-4ED0-9AF6-D1F065CF5CCE}" dt="2021-02-15T00:38:03.484" v="3520"/>
        <pc:sldMkLst>
          <pc:docMk/>
          <pc:sldMk cId="706792741" sldId="10259"/>
        </pc:sldMkLst>
        <pc:graphicFrameChg chg="mod modGraphic">
          <ac:chgData name="Toby James" userId="4852c070-2e6b-4fbf-b108-1679f58fc2a2" providerId="ADAL" clId="{811CBC0F-460C-4ED0-9AF6-D1F065CF5CCE}" dt="2021-02-15T00:38:03.484" v="3520"/>
          <ac:graphicFrameMkLst>
            <pc:docMk/>
            <pc:sldMk cId="706792741" sldId="10259"/>
            <ac:graphicFrameMk id="8" creationId="{9C3FA538-2EEB-4441-958F-8EEC1522DF33}"/>
          </ac:graphicFrameMkLst>
        </pc:graphicFrameChg>
        <pc:graphicFrameChg chg="mod modGraphic">
          <ac:chgData name="Toby James" userId="4852c070-2e6b-4fbf-b108-1679f58fc2a2" providerId="ADAL" clId="{811CBC0F-460C-4ED0-9AF6-D1F065CF5CCE}" dt="2021-02-15T00:32:22.217" v="3382" actId="20577"/>
          <ac:graphicFrameMkLst>
            <pc:docMk/>
            <pc:sldMk cId="706792741" sldId="10259"/>
            <ac:graphicFrameMk id="12" creationId="{0BA42EE4-2131-467C-8AC6-CFACB976FC9C}"/>
          </ac:graphicFrameMkLst>
        </pc:graphicFrameChg>
      </pc:sldChg>
      <pc:sldChg chg="add del">
        <pc:chgData name="Toby James" userId="4852c070-2e6b-4fbf-b108-1679f58fc2a2" providerId="ADAL" clId="{811CBC0F-460C-4ED0-9AF6-D1F065CF5CCE}" dt="2021-02-08T02:22:04.889" v="363" actId="47"/>
        <pc:sldMkLst>
          <pc:docMk/>
          <pc:sldMk cId="324830679" sldId="10260"/>
        </pc:sldMkLst>
      </pc:sldChg>
      <pc:sldChg chg="modSp add mod modShow">
        <pc:chgData name="Toby James" userId="4852c070-2e6b-4fbf-b108-1679f58fc2a2" providerId="ADAL" clId="{811CBC0F-460C-4ED0-9AF6-D1F065CF5CCE}" dt="2021-02-11T00:26:44.786" v="394" actId="729"/>
        <pc:sldMkLst>
          <pc:docMk/>
          <pc:sldMk cId="3979634199" sldId="10260"/>
        </pc:sldMkLst>
        <pc:graphicFrameChg chg="mod modGraphic">
          <ac:chgData name="Toby James" userId="4852c070-2e6b-4fbf-b108-1679f58fc2a2" providerId="ADAL" clId="{811CBC0F-460C-4ED0-9AF6-D1F065CF5CCE}" dt="2021-02-08T02:32:21.317" v="386" actId="782"/>
          <ac:graphicFrameMkLst>
            <pc:docMk/>
            <pc:sldMk cId="3979634199" sldId="10260"/>
            <ac:graphicFrameMk id="7" creationId="{E1DA1B01-B825-4EF5-A3CE-BCA4EBDD6C74}"/>
          </ac:graphicFrameMkLst>
        </pc:graphicFrameChg>
      </pc:sldChg>
      <pc:sldChg chg="modSp add mod addCm">
        <pc:chgData name="Toby James" userId="4852c070-2e6b-4fbf-b108-1679f58fc2a2" providerId="ADAL" clId="{811CBC0F-460C-4ED0-9AF6-D1F065CF5CCE}" dt="2021-02-15T00:37:11.092" v="3487"/>
        <pc:sldMkLst>
          <pc:docMk/>
          <pc:sldMk cId="1419640178" sldId="10261"/>
        </pc:sldMkLst>
        <pc:spChg chg="mod">
          <ac:chgData name="Toby James" userId="4852c070-2e6b-4fbf-b108-1679f58fc2a2" providerId="ADAL" clId="{811CBC0F-460C-4ED0-9AF6-D1F065CF5CCE}" dt="2021-02-15T00:23:53.295" v="3143" actId="20577"/>
          <ac:spMkLst>
            <pc:docMk/>
            <pc:sldMk cId="1419640178" sldId="10261"/>
            <ac:spMk id="2" creationId="{11981002-9C29-43DD-9EFC-331DD8486892}"/>
          </ac:spMkLst>
        </pc:spChg>
        <pc:graphicFrameChg chg="mod modGraphic">
          <ac:chgData name="Toby James" userId="4852c070-2e6b-4fbf-b108-1679f58fc2a2" providerId="ADAL" clId="{811CBC0F-460C-4ED0-9AF6-D1F065CF5CCE}" dt="2021-02-15T00:37:11.092" v="3487"/>
          <ac:graphicFrameMkLst>
            <pc:docMk/>
            <pc:sldMk cId="1419640178" sldId="10261"/>
            <ac:graphicFrameMk id="8" creationId="{9C3FA538-2EEB-4441-958F-8EEC1522DF33}"/>
          </ac:graphicFrameMkLst>
        </pc:graphicFrameChg>
        <pc:graphicFrameChg chg="mod modGraphic">
          <ac:chgData name="Toby James" userId="4852c070-2e6b-4fbf-b108-1679f58fc2a2" providerId="ADAL" clId="{811CBC0F-460C-4ED0-9AF6-D1F065CF5CCE}" dt="2021-02-15T00:30:03.427" v="3347"/>
          <ac:graphicFrameMkLst>
            <pc:docMk/>
            <pc:sldMk cId="1419640178" sldId="10261"/>
            <ac:graphicFrameMk id="12" creationId="{0BA42EE4-2131-467C-8AC6-CFACB976FC9C}"/>
          </ac:graphicFrameMkLst>
        </pc:graphicFrameChg>
      </pc:sldChg>
      <pc:sldChg chg="modSp add mod">
        <pc:chgData name="Toby James" userId="4852c070-2e6b-4fbf-b108-1679f58fc2a2" providerId="ADAL" clId="{811CBC0F-460C-4ED0-9AF6-D1F065CF5CCE}" dt="2021-02-15T00:37:21.397" v="3497" actId="20577"/>
        <pc:sldMkLst>
          <pc:docMk/>
          <pc:sldMk cId="2361702661" sldId="10262"/>
        </pc:sldMkLst>
        <pc:spChg chg="mod">
          <ac:chgData name="Toby James" userId="4852c070-2e6b-4fbf-b108-1679f58fc2a2" providerId="ADAL" clId="{811CBC0F-460C-4ED0-9AF6-D1F065CF5CCE}" dt="2021-02-15T00:23:27.770" v="3094" actId="20577"/>
          <ac:spMkLst>
            <pc:docMk/>
            <pc:sldMk cId="2361702661" sldId="10262"/>
            <ac:spMk id="2" creationId="{11981002-9C29-43DD-9EFC-331DD8486892}"/>
          </ac:spMkLst>
        </pc:spChg>
        <pc:graphicFrameChg chg="mod modGraphic">
          <ac:chgData name="Toby James" userId="4852c070-2e6b-4fbf-b108-1679f58fc2a2" providerId="ADAL" clId="{811CBC0F-460C-4ED0-9AF6-D1F065CF5CCE}" dt="2021-02-15T00:37:21.397" v="3497" actId="20577"/>
          <ac:graphicFrameMkLst>
            <pc:docMk/>
            <pc:sldMk cId="2361702661" sldId="10262"/>
            <ac:graphicFrameMk id="8" creationId="{9C3FA538-2EEB-4441-958F-8EEC1522DF33}"/>
          </ac:graphicFrameMkLst>
        </pc:graphicFrameChg>
        <pc:graphicFrameChg chg="mod modGraphic">
          <ac:chgData name="Toby James" userId="4852c070-2e6b-4fbf-b108-1679f58fc2a2" providerId="ADAL" clId="{811CBC0F-460C-4ED0-9AF6-D1F065CF5CCE}" dt="2021-02-15T00:36:45.232" v="3472"/>
          <ac:graphicFrameMkLst>
            <pc:docMk/>
            <pc:sldMk cId="2361702661" sldId="10262"/>
            <ac:graphicFrameMk id="12" creationId="{0BA42EE4-2131-467C-8AC6-CFACB976FC9C}"/>
          </ac:graphicFrameMkLst>
        </pc:graphicFrameChg>
      </pc:sldChg>
      <pc:sldChg chg="modSp add mod">
        <pc:chgData name="Toby James" userId="4852c070-2e6b-4fbf-b108-1679f58fc2a2" providerId="ADAL" clId="{811CBC0F-460C-4ED0-9AF6-D1F065CF5CCE}" dt="2021-02-15T00:36:12.506" v="3438" actId="20577"/>
        <pc:sldMkLst>
          <pc:docMk/>
          <pc:sldMk cId="3865687768" sldId="10263"/>
        </pc:sldMkLst>
        <pc:spChg chg="mod">
          <ac:chgData name="Toby James" userId="4852c070-2e6b-4fbf-b108-1679f58fc2a2" providerId="ADAL" clId="{811CBC0F-460C-4ED0-9AF6-D1F065CF5CCE}" dt="2021-02-11T02:30:43.224" v="1744" actId="20577"/>
          <ac:spMkLst>
            <pc:docMk/>
            <pc:sldMk cId="3865687768" sldId="10263"/>
            <ac:spMk id="2" creationId="{11981002-9C29-43DD-9EFC-331DD8486892}"/>
          </ac:spMkLst>
        </pc:spChg>
        <pc:graphicFrameChg chg="mod modGraphic">
          <ac:chgData name="Toby James" userId="4852c070-2e6b-4fbf-b108-1679f58fc2a2" providerId="ADAL" clId="{811CBC0F-460C-4ED0-9AF6-D1F065CF5CCE}" dt="2021-02-15T00:36:12.506" v="3438" actId="20577"/>
          <ac:graphicFrameMkLst>
            <pc:docMk/>
            <pc:sldMk cId="3865687768" sldId="10263"/>
            <ac:graphicFrameMk id="8" creationId="{9C3FA538-2EEB-4441-958F-8EEC1522DF33}"/>
          </ac:graphicFrameMkLst>
        </pc:graphicFrameChg>
        <pc:graphicFrameChg chg="mod modGraphic">
          <ac:chgData name="Toby James" userId="4852c070-2e6b-4fbf-b108-1679f58fc2a2" providerId="ADAL" clId="{811CBC0F-460C-4ED0-9AF6-D1F065CF5CCE}" dt="2021-02-15T00:28:12.559" v="3325" actId="20577"/>
          <ac:graphicFrameMkLst>
            <pc:docMk/>
            <pc:sldMk cId="3865687768" sldId="10263"/>
            <ac:graphicFrameMk id="12" creationId="{0BA42EE4-2131-467C-8AC6-CFACB976FC9C}"/>
          </ac:graphicFrameMkLst>
        </pc:graphicFrameChg>
      </pc:sldChg>
      <pc:sldChg chg="modSp mod modCm">
        <pc:chgData name="Toby James" userId="4852c070-2e6b-4fbf-b108-1679f58fc2a2" providerId="ADAL" clId="{811CBC0F-460C-4ED0-9AF6-D1F065CF5CCE}" dt="2021-02-15T00:37:54.709" v="3519"/>
        <pc:sldMkLst>
          <pc:docMk/>
          <pc:sldMk cId="221291899" sldId="10264"/>
        </pc:sldMkLst>
        <pc:graphicFrameChg chg="mod modGraphic">
          <ac:chgData name="Toby James" userId="4852c070-2e6b-4fbf-b108-1679f58fc2a2" providerId="ADAL" clId="{811CBC0F-460C-4ED0-9AF6-D1F065CF5CCE}" dt="2021-02-15T00:37:54.709" v="3519"/>
          <ac:graphicFrameMkLst>
            <pc:docMk/>
            <pc:sldMk cId="221291899" sldId="10264"/>
            <ac:graphicFrameMk id="8" creationId="{9C3FA538-2EEB-4441-958F-8EEC1522DF33}"/>
          </ac:graphicFrameMkLst>
        </pc:graphicFrameChg>
        <pc:graphicFrameChg chg="mod">
          <ac:chgData name="Toby James" userId="4852c070-2e6b-4fbf-b108-1679f58fc2a2" providerId="ADAL" clId="{811CBC0F-460C-4ED0-9AF6-D1F065CF5CCE}" dt="2021-02-15T00:33:34.904" v="3398"/>
          <ac:graphicFrameMkLst>
            <pc:docMk/>
            <pc:sldMk cId="221291899" sldId="10264"/>
            <ac:graphicFrameMk id="12" creationId="{0BA42EE4-2131-467C-8AC6-CFACB976FC9C}"/>
          </ac:graphicFrameMkLst>
        </pc:graphicFrameChg>
      </pc:sldChg>
      <pc:sldChg chg="modSp mod">
        <pc:chgData name="Toby James" userId="4852c070-2e6b-4fbf-b108-1679f58fc2a2" providerId="ADAL" clId="{811CBC0F-460C-4ED0-9AF6-D1F065CF5CCE}" dt="2021-02-15T00:37:44.630" v="3518" actId="20577"/>
        <pc:sldMkLst>
          <pc:docMk/>
          <pc:sldMk cId="1648800858" sldId="10275"/>
        </pc:sldMkLst>
        <pc:graphicFrameChg chg="mod modGraphic">
          <ac:chgData name="Toby James" userId="4852c070-2e6b-4fbf-b108-1679f58fc2a2" providerId="ADAL" clId="{811CBC0F-460C-4ED0-9AF6-D1F065CF5CCE}" dt="2021-02-15T00:37:44.630" v="3518" actId="20577"/>
          <ac:graphicFrameMkLst>
            <pc:docMk/>
            <pc:sldMk cId="1648800858" sldId="10275"/>
            <ac:graphicFrameMk id="8" creationId="{9C3FA538-2EEB-4441-958F-8EEC1522DF33}"/>
          </ac:graphicFrameMkLst>
        </pc:graphicFrameChg>
      </pc:sldChg>
      <pc:sldChg chg="modSp mod">
        <pc:chgData name="Toby James" userId="4852c070-2e6b-4fbf-b108-1679f58fc2a2" providerId="ADAL" clId="{811CBC0F-460C-4ED0-9AF6-D1F065CF5CCE}" dt="2021-02-15T00:35:29.842" v="3405" actId="20577"/>
        <pc:sldMkLst>
          <pc:docMk/>
          <pc:sldMk cId="371622776" sldId="10283"/>
        </pc:sldMkLst>
        <pc:graphicFrameChg chg="modGraphic">
          <ac:chgData name="Toby James" userId="4852c070-2e6b-4fbf-b108-1679f58fc2a2" providerId="ADAL" clId="{811CBC0F-460C-4ED0-9AF6-D1F065CF5CCE}" dt="2021-02-15T00:35:29.842" v="3405" actId="20577"/>
          <ac:graphicFrameMkLst>
            <pc:docMk/>
            <pc:sldMk cId="371622776" sldId="10283"/>
            <ac:graphicFrameMk id="8" creationId="{9C3FA538-2EEB-4441-958F-8EEC1522DF33}"/>
          </ac:graphicFrameMkLst>
        </pc:graphicFrameChg>
      </pc:sldChg>
      <pc:sldChg chg="modSp mod">
        <pc:chgData name="Toby James" userId="4852c070-2e6b-4fbf-b108-1679f58fc2a2" providerId="ADAL" clId="{811CBC0F-460C-4ED0-9AF6-D1F065CF5CCE}" dt="2021-02-15T00:35:55.492" v="3419" actId="20577"/>
        <pc:sldMkLst>
          <pc:docMk/>
          <pc:sldMk cId="503916700" sldId="10284"/>
        </pc:sldMkLst>
        <pc:graphicFrameChg chg="mod modGraphic">
          <ac:chgData name="Toby James" userId="4852c070-2e6b-4fbf-b108-1679f58fc2a2" providerId="ADAL" clId="{811CBC0F-460C-4ED0-9AF6-D1F065CF5CCE}" dt="2021-02-15T00:35:55.492" v="3419" actId="20577"/>
          <ac:graphicFrameMkLst>
            <pc:docMk/>
            <pc:sldMk cId="503916700" sldId="10284"/>
            <ac:graphicFrameMk id="8" creationId="{9C3FA538-2EEB-4441-958F-8EEC1522DF33}"/>
          </ac:graphicFrameMkLst>
        </pc:graphicFrameChg>
      </pc:sldChg>
      <pc:sldChg chg="modSp">
        <pc:chgData name="Toby James" userId="4852c070-2e6b-4fbf-b108-1679f58fc2a2" providerId="ADAL" clId="{811CBC0F-460C-4ED0-9AF6-D1F065CF5CCE}" dt="2021-02-15T00:38:19.264" v="3522" actId="113"/>
        <pc:sldMkLst>
          <pc:docMk/>
          <pc:sldMk cId="2606447300" sldId="10285"/>
        </pc:sldMkLst>
        <pc:graphicFrameChg chg="mod">
          <ac:chgData name="Toby James" userId="4852c070-2e6b-4fbf-b108-1679f58fc2a2" providerId="ADAL" clId="{811CBC0F-460C-4ED0-9AF6-D1F065CF5CCE}" dt="2021-02-15T00:38:19.264" v="3522" actId="113"/>
          <ac:graphicFrameMkLst>
            <pc:docMk/>
            <pc:sldMk cId="2606447300" sldId="10285"/>
            <ac:graphicFrameMk id="8" creationId="{9C3FA538-2EEB-4441-958F-8EEC1522DF33}"/>
          </ac:graphicFrameMkLst>
        </pc:graphicFrameChg>
      </pc:sldChg>
      <pc:sldChg chg="modSp">
        <pc:chgData name="Toby James" userId="4852c070-2e6b-4fbf-b108-1679f58fc2a2" providerId="ADAL" clId="{811CBC0F-460C-4ED0-9AF6-D1F065CF5CCE}" dt="2021-02-15T00:38:54.867" v="3523"/>
        <pc:sldMkLst>
          <pc:docMk/>
          <pc:sldMk cId="3619002474" sldId="10286"/>
        </pc:sldMkLst>
        <pc:graphicFrameChg chg="mod">
          <ac:chgData name="Toby James" userId="4852c070-2e6b-4fbf-b108-1679f58fc2a2" providerId="ADAL" clId="{811CBC0F-460C-4ED0-9AF6-D1F065CF5CCE}" dt="2021-02-15T00:38:54.867" v="3523"/>
          <ac:graphicFrameMkLst>
            <pc:docMk/>
            <pc:sldMk cId="3619002474" sldId="10286"/>
            <ac:graphicFrameMk id="8" creationId="{9C3FA538-2EEB-4441-958F-8EEC1522DF33}"/>
          </ac:graphicFrameMkLst>
        </pc:graphicFrameChg>
      </pc:sldChg>
      <pc:sldMasterChg chg="addSldLayout modSldLayout">
        <pc:chgData name="Toby James" userId="4852c070-2e6b-4fbf-b108-1679f58fc2a2" providerId="ADAL" clId="{811CBC0F-460C-4ED0-9AF6-D1F065CF5CCE}" dt="2021-02-08T02:19:40.085" v="357" actId="22"/>
        <pc:sldMasterMkLst>
          <pc:docMk/>
          <pc:sldMasterMk cId="993860654" sldId="2147483660"/>
        </pc:sldMasterMkLst>
        <pc:sldLayoutChg chg="add mod">
          <pc:chgData name="Toby James" userId="4852c070-2e6b-4fbf-b108-1679f58fc2a2" providerId="ADAL" clId="{811CBC0F-460C-4ED0-9AF6-D1F065CF5CCE}" dt="2021-02-08T02:02:22.432" v="356" actId="22"/>
          <pc:sldLayoutMkLst>
            <pc:docMk/>
            <pc:sldMasterMk cId="993860654" sldId="2147483660"/>
            <pc:sldLayoutMk cId="3875869528" sldId="2147483707"/>
          </pc:sldLayoutMkLst>
        </pc:sldLayoutChg>
        <pc:sldLayoutChg chg="add mod">
          <pc:chgData name="Toby James" userId="4852c070-2e6b-4fbf-b108-1679f58fc2a2" providerId="ADAL" clId="{811CBC0F-460C-4ED0-9AF6-D1F065CF5CCE}" dt="2021-02-08T02:19:40.085" v="357" actId="22"/>
          <pc:sldLayoutMkLst>
            <pc:docMk/>
            <pc:sldMasterMk cId="993860654" sldId="2147483660"/>
            <pc:sldLayoutMk cId="2275524993" sldId="2147483708"/>
          </pc:sldLayoutMkLst>
        </pc:sldLayoutChg>
      </pc:sldMasterChg>
    </pc:docChg>
  </pc:docChgLst>
  <pc:docChgLst>
    <pc:chgData name="Toby James" userId="S::tojame@microsoft.com::4852c070-2e6b-4fbf-b108-1679f58fc2a2" providerId="AD" clId="Web-{1AAF0193-AF94-5B89-8F69-28B98197BB9B}"/>
    <pc:docChg chg="modSld">
      <pc:chgData name="Toby James" userId="S::tojame@microsoft.com::4852c070-2e6b-4fbf-b108-1679f58fc2a2" providerId="AD" clId="Web-{1AAF0193-AF94-5B89-8F69-28B98197BB9B}" dt="2021-02-15T00:17:50.797" v="9" actId="20577"/>
      <pc:docMkLst>
        <pc:docMk/>
      </pc:docMkLst>
      <pc:sldChg chg="modCm">
        <pc:chgData name="Toby James" userId="S::tojame@microsoft.com::4852c070-2e6b-4fbf-b108-1679f58fc2a2" providerId="AD" clId="Web-{1AAF0193-AF94-5B89-8F69-28B98197BB9B}" dt="2021-02-15T00:13:10.497" v="1"/>
        <pc:sldMkLst>
          <pc:docMk/>
          <pc:sldMk cId="706792741" sldId="10259"/>
        </pc:sldMkLst>
      </pc:sldChg>
      <pc:sldChg chg="modSp">
        <pc:chgData name="Toby James" userId="S::tojame@microsoft.com::4852c070-2e6b-4fbf-b108-1679f58fc2a2" providerId="AD" clId="Web-{1AAF0193-AF94-5B89-8F69-28B98197BB9B}" dt="2021-02-15T00:17:50.797" v="9" actId="20577"/>
        <pc:sldMkLst>
          <pc:docMk/>
          <pc:sldMk cId="2361702661" sldId="10262"/>
        </pc:sldMkLst>
        <pc:graphicFrameChg chg="modGraphic">
          <ac:chgData name="Toby James" userId="S::tojame@microsoft.com::4852c070-2e6b-4fbf-b108-1679f58fc2a2" providerId="AD" clId="Web-{1AAF0193-AF94-5B89-8F69-28B98197BB9B}" dt="2021-02-15T00:17:12.013" v="6" actId="20577"/>
          <ac:graphicFrameMkLst>
            <pc:docMk/>
            <pc:sldMk cId="2361702661" sldId="10262"/>
            <ac:graphicFrameMk id="8" creationId="{9C3FA538-2EEB-4441-958F-8EEC1522DF33}"/>
          </ac:graphicFrameMkLst>
        </pc:graphicFrameChg>
        <pc:graphicFrameChg chg="modGraphic">
          <ac:chgData name="Toby James" userId="S::tojame@microsoft.com::4852c070-2e6b-4fbf-b108-1679f58fc2a2" providerId="AD" clId="Web-{1AAF0193-AF94-5B89-8F69-28B98197BB9B}" dt="2021-02-15T00:17:50.797" v="9" actId="20577"/>
          <ac:graphicFrameMkLst>
            <pc:docMk/>
            <pc:sldMk cId="2361702661" sldId="10262"/>
            <ac:graphicFrameMk id="12" creationId="{0BA42EE4-2131-467C-8AC6-CFACB976FC9C}"/>
          </ac:graphicFrameMkLst>
        </pc:graphicFrameChg>
      </pc:sldChg>
    </pc:docChg>
  </pc:docChgLst>
  <pc:docChgLst>
    <pc:chgData name="Kuntal Ghoshal" userId="9365114f-3662-492a-8f44-5af3c15a2194" providerId="ADAL" clId="{73A5AA42-C53E-4AA3-9B84-4BF4DACB447E}"/>
    <pc:docChg chg="modSld sldOrd">
      <pc:chgData name="Kuntal Ghoshal" userId="9365114f-3662-492a-8f44-5af3c15a2194" providerId="ADAL" clId="{73A5AA42-C53E-4AA3-9B84-4BF4DACB447E}" dt="2021-04-08T13:31:14.537" v="1"/>
      <pc:docMkLst>
        <pc:docMk/>
      </pc:docMkLst>
      <pc:sldChg chg="ord">
        <pc:chgData name="Kuntal Ghoshal" userId="9365114f-3662-492a-8f44-5af3c15a2194" providerId="ADAL" clId="{73A5AA42-C53E-4AA3-9B84-4BF4DACB447E}" dt="2021-04-08T13:31:14.537" v="1"/>
        <pc:sldMkLst>
          <pc:docMk/>
          <pc:sldMk cId="2238344170" sldId="10250"/>
        </pc:sldMkLst>
      </pc:sldChg>
    </pc:docChg>
  </pc:docChgLst>
  <pc:docChgLst>
    <pc:chgData name="Ajit Kotwal" userId="781b8ab5-6f9a-4511-aed5-b50cf9e67252" providerId="ADAL" clId="{A88B2DB9-5DE3-4608-9610-1AFBB2D5EFB6}"/>
    <pc:docChg chg="sldOrd">
      <pc:chgData name="Ajit Kotwal" userId="781b8ab5-6f9a-4511-aed5-b50cf9e67252" providerId="ADAL" clId="{A88B2DB9-5DE3-4608-9610-1AFBB2D5EFB6}" dt="2021-03-23T10:26:33.932" v="0" actId="20578"/>
      <pc:docMkLst>
        <pc:docMk/>
      </pc:docMkLst>
      <pc:sldChg chg="ord">
        <pc:chgData name="Ajit Kotwal" userId="781b8ab5-6f9a-4511-aed5-b50cf9e67252" providerId="ADAL" clId="{A88B2DB9-5DE3-4608-9610-1AFBB2D5EFB6}" dt="2021-03-23T10:26:33.932" v="0" actId="20578"/>
        <pc:sldMkLst>
          <pc:docMk/>
          <pc:sldMk cId="2238344170" sldId="10250"/>
        </pc:sldMkLst>
      </pc:sldChg>
    </pc:docChg>
  </pc:docChgLst>
  <pc:docChgLst>
    <pc:chgData name="Ajit Kotwal" userId="781b8ab5-6f9a-4511-aed5-b50cf9e67252" providerId="ADAL" clId="{27E91C08-3CA6-4129-AF6E-449EA40E5C4F}"/>
    <pc:docChg chg="undo custSel addSld delSld modSld sldOrd modSection">
      <pc:chgData name="Ajit Kotwal" userId="781b8ab5-6f9a-4511-aed5-b50cf9e67252" providerId="ADAL" clId="{27E91C08-3CA6-4129-AF6E-449EA40E5C4F}" dt="2021-02-15T09:56:07.726" v="9492"/>
      <pc:docMkLst>
        <pc:docMk/>
      </pc:docMkLst>
      <pc:sldChg chg="addSp delSp modSp add del mod">
        <pc:chgData name="Ajit Kotwal" userId="781b8ab5-6f9a-4511-aed5-b50cf9e67252" providerId="ADAL" clId="{27E91C08-3CA6-4129-AF6E-449EA40E5C4F}" dt="2021-02-07T21:10:25.689" v="2496" actId="478"/>
        <pc:sldMkLst>
          <pc:docMk/>
          <pc:sldMk cId="1094870920" sldId="1735"/>
        </pc:sldMkLst>
        <pc:spChg chg="mod">
          <ac:chgData name="Ajit Kotwal" userId="781b8ab5-6f9a-4511-aed5-b50cf9e67252" providerId="ADAL" clId="{27E91C08-3CA6-4129-AF6E-449EA40E5C4F}" dt="2021-02-07T21:08:04.152" v="2433" actId="1035"/>
          <ac:spMkLst>
            <pc:docMk/>
            <pc:sldMk cId="1094870920" sldId="1735"/>
            <ac:spMk id="4" creationId="{AEB24241-BB4A-41B3-8932-6471BC2563BB}"/>
          </ac:spMkLst>
        </pc:spChg>
        <pc:spChg chg="mod">
          <ac:chgData name="Ajit Kotwal" userId="781b8ab5-6f9a-4511-aed5-b50cf9e67252" providerId="ADAL" clId="{27E91C08-3CA6-4129-AF6E-449EA40E5C4F}" dt="2021-02-07T21:09:10.872" v="2486" actId="1035"/>
          <ac:spMkLst>
            <pc:docMk/>
            <pc:sldMk cId="1094870920" sldId="1735"/>
            <ac:spMk id="5" creationId="{CE9BBCE3-8743-4C99-BEC8-0DE48BD28E1F}"/>
          </ac:spMkLst>
        </pc:spChg>
        <pc:spChg chg="add del mod">
          <ac:chgData name="Ajit Kotwal" userId="781b8ab5-6f9a-4511-aed5-b50cf9e67252" providerId="ADAL" clId="{27E91C08-3CA6-4129-AF6E-449EA40E5C4F}" dt="2021-02-07T21:10:14.210" v="2494" actId="478"/>
          <ac:spMkLst>
            <pc:docMk/>
            <pc:sldMk cId="1094870920" sldId="1735"/>
            <ac:spMk id="64" creationId="{AC6B2404-C5DE-464E-8027-6E5FF891A22D}"/>
          </ac:spMkLst>
        </pc:spChg>
        <pc:spChg chg="mod">
          <ac:chgData name="Ajit Kotwal" userId="781b8ab5-6f9a-4511-aed5-b50cf9e67252" providerId="ADAL" clId="{27E91C08-3CA6-4129-AF6E-449EA40E5C4F}" dt="2021-02-07T21:06:54.704" v="2348" actId="20577"/>
          <ac:spMkLst>
            <pc:docMk/>
            <pc:sldMk cId="1094870920" sldId="1735"/>
            <ac:spMk id="70" creationId="{1CE81B94-64B5-49BC-8A00-1B321C123F69}"/>
          </ac:spMkLst>
        </pc:spChg>
        <pc:spChg chg="mod">
          <ac:chgData name="Ajit Kotwal" userId="781b8ab5-6f9a-4511-aed5-b50cf9e67252" providerId="ADAL" clId="{27E91C08-3CA6-4129-AF6E-449EA40E5C4F}" dt="2021-02-07T21:03:44.093" v="2159" actId="20577"/>
          <ac:spMkLst>
            <pc:docMk/>
            <pc:sldMk cId="1094870920" sldId="1735"/>
            <ac:spMk id="75" creationId="{89B2625A-7450-4332-BC67-FFAD4032511F}"/>
          </ac:spMkLst>
        </pc:spChg>
        <pc:spChg chg="mod">
          <ac:chgData name="Ajit Kotwal" userId="781b8ab5-6f9a-4511-aed5-b50cf9e67252" providerId="ADAL" clId="{27E91C08-3CA6-4129-AF6E-449EA40E5C4F}" dt="2021-02-07T21:03:15.866" v="2136"/>
          <ac:spMkLst>
            <pc:docMk/>
            <pc:sldMk cId="1094870920" sldId="1735"/>
            <ac:spMk id="77" creationId="{D85D5318-D99F-4EDD-BA24-123B8848C8E2}"/>
          </ac:spMkLst>
        </pc:spChg>
        <pc:spChg chg="mod">
          <ac:chgData name="Ajit Kotwal" userId="781b8ab5-6f9a-4511-aed5-b50cf9e67252" providerId="ADAL" clId="{27E91C08-3CA6-4129-AF6E-449EA40E5C4F}" dt="2021-02-07T21:03:15.866" v="2136"/>
          <ac:spMkLst>
            <pc:docMk/>
            <pc:sldMk cId="1094870920" sldId="1735"/>
            <ac:spMk id="78" creationId="{5F131F46-5E95-409E-8E27-14AD0C78983E}"/>
          </ac:spMkLst>
        </pc:spChg>
        <pc:spChg chg="mod">
          <ac:chgData name="Ajit Kotwal" userId="781b8ab5-6f9a-4511-aed5-b50cf9e67252" providerId="ADAL" clId="{27E91C08-3CA6-4129-AF6E-449EA40E5C4F}" dt="2021-02-07T21:09:39.109" v="2492" actId="20577"/>
          <ac:spMkLst>
            <pc:docMk/>
            <pc:sldMk cId="1094870920" sldId="1735"/>
            <ac:spMk id="85" creationId="{8DE2201B-869B-46E1-9DBD-5685B60F9033}"/>
          </ac:spMkLst>
        </pc:spChg>
        <pc:spChg chg="add del mod">
          <ac:chgData name="Ajit Kotwal" userId="781b8ab5-6f9a-4511-aed5-b50cf9e67252" providerId="ADAL" clId="{27E91C08-3CA6-4129-AF6E-449EA40E5C4F}" dt="2021-02-07T21:10:11.040" v="2493" actId="478"/>
          <ac:spMkLst>
            <pc:docMk/>
            <pc:sldMk cId="1094870920" sldId="1735"/>
            <ac:spMk id="97" creationId="{CD0122D9-FBC6-446F-9D67-56A9D8BB76AC}"/>
          </ac:spMkLst>
        </pc:spChg>
        <pc:spChg chg="mod">
          <ac:chgData name="Ajit Kotwal" userId="781b8ab5-6f9a-4511-aed5-b50cf9e67252" providerId="ADAL" clId="{27E91C08-3CA6-4129-AF6E-449EA40E5C4F}" dt="2021-02-07T21:04:10.380" v="2188" actId="20577"/>
          <ac:spMkLst>
            <pc:docMk/>
            <pc:sldMk cId="1094870920" sldId="1735"/>
            <ac:spMk id="106" creationId="{687ADBDF-B730-4EA0-979B-30E0889CBA59}"/>
          </ac:spMkLst>
        </pc:spChg>
        <pc:spChg chg="mod">
          <ac:chgData name="Ajit Kotwal" userId="781b8ab5-6f9a-4511-aed5-b50cf9e67252" providerId="ADAL" clId="{27E91C08-3CA6-4129-AF6E-449EA40E5C4F}" dt="2021-02-07T21:04:44.292" v="2222" actId="6549"/>
          <ac:spMkLst>
            <pc:docMk/>
            <pc:sldMk cId="1094870920" sldId="1735"/>
            <ac:spMk id="109" creationId="{3E4DFA63-3F0D-487B-A03F-3BEC2E1DBE83}"/>
          </ac:spMkLst>
        </pc:spChg>
        <pc:spChg chg="mod">
          <ac:chgData name="Ajit Kotwal" userId="781b8ab5-6f9a-4511-aed5-b50cf9e67252" providerId="ADAL" clId="{27E91C08-3CA6-4129-AF6E-449EA40E5C4F}" dt="2021-02-07T21:03:47.283" v="2160"/>
          <ac:spMkLst>
            <pc:docMk/>
            <pc:sldMk cId="1094870920" sldId="1735"/>
            <ac:spMk id="113" creationId="{BCC82F5C-76AA-418B-928A-E63F86611314}"/>
          </ac:spMkLst>
        </pc:spChg>
        <pc:spChg chg="mod">
          <ac:chgData name="Ajit Kotwal" userId="781b8ab5-6f9a-4511-aed5-b50cf9e67252" providerId="ADAL" clId="{27E91C08-3CA6-4129-AF6E-449EA40E5C4F}" dt="2021-02-07T21:03:47.283" v="2160"/>
          <ac:spMkLst>
            <pc:docMk/>
            <pc:sldMk cId="1094870920" sldId="1735"/>
            <ac:spMk id="114" creationId="{70C6D8CD-F571-4AA3-A93F-82200F490E4B}"/>
          </ac:spMkLst>
        </pc:spChg>
        <pc:spChg chg="add del mod">
          <ac:chgData name="Ajit Kotwal" userId="781b8ab5-6f9a-4511-aed5-b50cf9e67252" providerId="ADAL" clId="{27E91C08-3CA6-4129-AF6E-449EA40E5C4F}" dt="2021-02-07T21:10:19.302" v="2495" actId="478"/>
          <ac:spMkLst>
            <pc:docMk/>
            <pc:sldMk cId="1094870920" sldId="1735"/>
            <ac:spMk id="117" creationId="{CBF4FCD5-3320-46F6-A8A3-06123375CAB3}"/>
          </ac:spMkLst>
        </pc:spChg>
        <pc:spChg chg="mod">
          <ac:chgData name="Ajit Kotwal" userId="781b8ab5-6f9a-4511-aed5-b50cf9e67252" providerId="ADAL" clId="{27E91C08-3CA6-4129-AF6E-449EA40E5C4F}" dt="2021-02-07T21:07:46.611" v="2398" actId="20577"/>
          <ac:spMkLst>
            <pc:docMk/>
            <pc:sldMk cId="1094870920" sldId="1735"/>
            <ac:spMk id="119" creationId="{5BF6511F-CE5D-4CC8-B618-38F144A33D7E}"/>
          </ac:spMkLst>
        </pc:spChg>
        <pc:spChg chg="mod">
          <ac:chgData name="Ajit Kotwal" userId="781b8ab5-6f9a-4511-aed5-b50cf9e67252" providerId="ADAL" clId="{27E91C08-3CA6-4129-AF6E-449EA40E5C4F}" dt="2021-02-07T21:07:31.492" v="2384"/>
          <ac:spMkLst>
            <pc:docMk/>
            <pc:sldMk cId="1094870920" sldId="1735"/>
            <ac:spMk id="121" creationId="{2E0B2EA2-42DE-426F-914F-DA7D2A7C8233}"/>
          </ac:spMkLst>
        </pc:spChg>
        <pc:spChg chg="mod">
          <ac:chgData name="Ajit Kotwal" userId="781b8ab5-6f9a-4511-aed5-b50cf9e67252" providerId="ADAL" clId="{27E91C08-3CA6-4129-AF6E-449EA40E5C4F}" dt="2021-02-07T21:07:31.492" v="2384"/>
          <ac:spMkLst>
            <pc:docMk/>
            <pc:sldMk cId="1094870920" sldId="1735"/>
            <ac:spMk id="122" creationId="{35960CEE-F978-4854-8BCC-8E6C8EF2F048}"/>
          </ac:spMkLst>
        </pc:spChg>
        <pc:spChg chg="add del mod">
          <ac:chgData name="Ajit Kotwal" userId="781b8ab5-6f9a-4511-aed5-b50cf9e67252" providerId="ADAL" clId="{27E91C08-3CA6-4129-AF6E-449EA40E5C4F}" dt="2021-02-07T21:10:25.689" v="2496" actId="478"/>
          <ac:spMkLst>
            <pc:docMk/>
            <pc:sldMk cId="1094870920" sldId="1735"/>
            <ac:spMk id="125" creationId="{2EBB77FC-6490-48C1-8118-2E892D981A96}"/>
          </ac:spMkLst>
        </pc:spChg>
        <pc:spChg chg="mod">
          <ac:chgData name="Ajit Kotwal" userId="781b8ab5-6f9a-4511-aed5-b50cf9e67252" providerId="ADAL" clId="{27E91C08-3CA6-4129-AF6E-449EA40E5C4F}" dt="2021-02-07T21:09:34.978" v="2489"/>
          <ac:spMkLst>
            <pc:docMk/>
            <pc:sldMk cId="1094870920" sldId="1735"/>
            <ac:spMk id="127" creationId="{9F3C9539-2BBD-4640-8275-CC4CF140FF51}"/>
          </ac:spMkLst>
        </pc:spChg>
        <pc:spChg chg="mod">
          <ac:chgData name="Ajit Kotwal" userId="781b8ab5-6f9a-4511-aed5-b50cf9e67252" providerId="ADAL" clId="{27E91C08-3CA6-4129-AF6E-449EA40E5C4F}" dt="2021-02-07T21:09:20.828" v="2487"/>
          <ac:spMkLst>
            <pc:docMk/>
            <pc:sldMk cId="1094870920" sldId="1735"/>
            <ac:spMk id="129" creationId="{4FC734F3-C3B5-4C40-88ED-501F44A1D508}"/>
          </ac:spMkLst>
        </pc:spChg>
        <pc:spChg chg="mod">
          <ac:chgData name="Ajit Kotwal" userId="781b8ab5-6f9a-4511-aed5-b50cf9e67252" providerId="ADAL" clId="{27E91C08-3CA6-4129-AF6E-449EA40E5C4F}" dt="2021-02-07T21:09:20.828" v="2487"/>
          <ac:spMkLst>
            <pc:docMk/>
            <pc:sldMk cId="1094870920" sldId="1735"/>
            <ac:spMk id="130" creationId="{73D2AB1C-69A3-4576-86F4-CF0AE2FBEB92}"/>
          </ac:spMkLst>
        </pc:spChg>
        <pc:grpChg chg="mod">
          <ac:chgData name="Ajit Kotwal" userId="781b8ab5-6f9a-4511-aed5-b50cf9e67252" providerId="ADAL" clId="{27E91C08-3CA6-4129-AF6E-449EA40E5C4F}" dt="2021-02-07T21:03:06.175" v="2135" actId="1076"/>
          <ac:grpSpMkLst>
            <pc:docMk/>
            <pc:sldMk cId="1094870920" sldId="1735"/>
            <ac:grpSpMk id="54" creationId="{E3151547-6629-4A30-85D7-9026BFEC7DB1}"/>
          </ac:grpSpMkLst>
        </pc:grpChg>
        <pc:grpChg chg="del">
          <ac:chgData name="Ajit Kotwal" userId="781b8ab5-6f9a-4511-aed5-b50cf9e67252" providerId="ADAL" clId="{27E91C08-3CA6-4129-AF6E-449EA40E5C4F}" dt="2021-02-07T09:55:01.177" v="0" actId="478"/>
          <ac:grpSpMkLst>
            <pc:docMk/>
            <pc:sldMk cId="1094870920" sldId="1735"/>
            <ac:grpSpMk id="59" creationId="{77ACF46A-463D-47C7-864A-28AF0D80B0C8}"/>
          </ac:grpSpMkLst>
        </pc:grpChg>
        <pc:grpChg chg="del">
          <ac:chgData name="Ajit Kotwal" userId="781b8ab5-6f9a-4511-aed5-b50cf9e67252" providerId="ADAL" clId="{27E91C08-3CA6-4129-AF6E-449EA40E5C4F}" dt="2021-02-07T21:03:25.156" v="2138" actId="478"/>
          <ac:grpSpMkLst>
            <pc:docMk/>
            <pc:sldMk cId="1094870920" sldId="1735"/>
            <ac:grpSpMk id="66" creationId="{3E8DCA24-F689-4F52-AC15-9977600BCF8E}"/>
          </ac:grpSpMkLst>
        </pc:grpChg>
        <pc:grpChg chg="mod">
          <ac:chgData name="Ajit Kotwal" userId="781b8ab5-6f9a-4511-aed5-b50cf9e67252" providerId="ADAL" clId="{27E91C08-3CA6-4129-AF6E-449EA40E5C4F}" dt="2021-02-07T21:08:04.152" v="2433" actId="1035"/>
          <ac:grpSpMkLst>
            <pc:docMk/>
            <pc:sldMk cId="1094870920" sldId="1735"/>
            <ac:grpSpMk id="69" creationId="{199D9518-4245-48DA-AFDC-44848BB4C33A}"/>
          </ac:grpSpMkLst>
        </pc:grpChg>
        <pc:grpChg chg="add mod">
          <ac:chgData name="Ajit Kotwal" userId="781b8ab5-6f9a-4511-aed5-b50cf9e67252" providerId="ADAL" clId="{27E91C08-3CA6-4129-AF6E-449EA40E5C4F}" dt="2021-02-07T21:03:23.072" v="2137" actId="1076"/>
          <ac:grpSpMkLst>
            <pc:docMk/>
            <pc:sldMk cId="1094870920" sldId="1735"/>
            <ac:grpSpMk id="74" creationId="{3823A448-5868-4E3E-9475-45AE56B3BB06}"/>
          </ac:grpSpMkLst>
        </pc:grpChg>
        <pc:grpChg chg="mod">
          <ac:chgData name="Ajit Kotwal" userId="781b8ab5-6f9a-4511-aed5-b50cf9e67252" providerId="ADAL" clId="{27E91C08-3CA6-4129-AF6E-449EA40E5C4F}" dt="2021-02-07T21:03:15.866" v="2136"/>
          <ac:grpSpMkLst>
            <pc:docMk/>
            <pc:sldMk cId="1094870920" sldId="1735"/>
            <ac:grpSpMk id="76" creationId="{EB67C6B5-DE70-49DA-9A56-E97042CA010E}"/>
          </ac:grpSpMkLst>
        </pc:grpChg>
        <pc:grpChg chg="mod">
          <ac:chgData name="Ajit Kotwal" userId="781b8ab5-6f9a-4511-aed5-b50cf9e67252" providerId="ADAL" clId="{27E91C08-3CA6-4129-AF6E-449EA40E5C4F}" dt="2021-02-07T21:09:10.872" v="2486" actId="1035"/>
          <ac:grpSpMkLst>
            <pc:docMk/>
            <pc:sldMk cId="1094870920" sldId="1735"/>
            <ac:grpSpMk id="79" creationId="{00543721-9F23-4D2C-A13E-D93B984A9FDA}"/>
          </ac:grpSpMkLst>
        </pc:grpChg>
        <pc:grpChg chg="mod">
          <ac:chgData name="Ajit Kotwal" userId="781b8ab5-6f9a-4511-aed5-b50cf9e67252" providerId="ADAL" clId="{27E91C08-3CA6-4129-AF6E-449EA40E5C4F}" dt="2021-02-07T21:09:10.872" v="2486" actId="1035"/>
          <ac:grpSpMkLst>
            <pc:docMk/>
            <pc:sldMk cId="1094870920" sldId="1735"/>
            <ac:grpSpMk id="84" creationId="{95831B84-1C17-4A14-9584-93D7C92B4AC9}"/>
          </ac:grpSpMkLst>
        </pc:grpChg>
        <pc:grpChg chg="add mod">
          <ac:chgData name="Ajit Kotwal" userId="781b8ab5-6f9a-4511-aed5-b50cf9e67252" providerId="ADAL" clId="{27E91C08-3CA6-4129-AF6E-449EA40E5C4F}" dt="2021-02-07T21:03:54.661" v="2161" actId="1076"/>
          <ac:grpSpMkLst>
            <pc:docMk/>
            <pc:sldMk cId="1094870920" sldId="1735"/>
            <ac:grpSpMk id="99" creationId="{3EBD8192-702E-4D55-BA67-A0309F7DF611}"/>
          </ac:grpSpMkLst>
        </pc:grpChg>
        <pc:grpChg chg="mod">
          <ac:chgData name="Ajit Kotwal" userId="781b8ab5-6f9a-4511-aed5-b50cf9e67252" providerId="ADAL" clId="{27E91C08-3CA6-4129-AF6E-449EA40E5C4F}" dt="2021-02-07T21:03:47.283" v="2160"/>
          <ac:grpSpMkLst>
            <pc:docMk/>
            <pc:sldMk cId="1094870920" sldId="1735"/>
            <ac:grpSpMk id="107" creationId="{374AA53D-9B27-42B4-B7A1-A0B2CB19B801}"/>
          </ac:grpSpMkLst>
        </pc:grpChg>
        <pc:grpChg chg="del mod">
          <ac:chgData name="Ajit Kotwal" userId="781b8ab5-6f9a-4511-aed5-b50cf9e67252" providerId="ADAL" clId="{27E91C08-3CA6-4129-AF6E-449EA40E5C4F}" dt="2021-02-07T21:04:55.832" v="2223" actId="478"/>
          <ac:grpSpMkLst>
            <pc:docMk/>
            <pc:sldMk cId="1094870920" sldId="1735"/>
            <ac:grpSpMk id="108" creationId="{1968FCB1-4939-4B68-8DC9-516AB0B3F2DD}"/>
          </ac:grpSpMkLst>
        </pc:grpChg>
        <pc:grpChg chg="add mod">
          <ac:chgData name="Ajit Kotwal" userId="781b8ab5-6f9a-4511-aed5-b50cf9e67252" providerId="ADAL" clId="{27E91C08-3CA6-4129-AF6E-449EA40E5C4F}" dt="2021-02-07T21:07:40.060" v="2385" actId="1076"/>
          <ac:grpSpMkLst>
            <pc:docMk/>
            <pc:sldMk cId="1094870920" sldId="1735"/>
            <ac:grpSpMk id="118" creationId="{B9BD788A-5AF8-4256-B2AF-9437E8A039DD}"/>
          </ac:grpSpMkLst>
        </pc:grpChg>
        <pc:grpChg chg="mod">
          <ac:chgData name="Ajit Kotwal" userId="781b8ab5-6f9a-4511-aed5-b50cf9e67252" providerId="ADAL" clId="{27E91C08-3CA6-4129-AF6E-449EA40E5C4F}" dt="2021-02-07T21:07:31.492" v="2384"/>
          <ac:grpSpMkLst>
            <pc:docMk/>
            <pc:sldMk cId="1094870920" sldId="1735"/>
            <ac:grpSpMk id="120" creationId="{AE630AEC-7425-4EA1-8159-9B0751D9A302}"/>
          </ac:grpSpMkLst>
        </pc:grpChg>
        <pc:grpChg chg="add mod">
          <ac:chgData name="Ajit Kotwal" userId="781b8ab5-6f9a-4511-aed5-b50cf9e67252" providerId="ADAL" clId="{27E91C08-3CA6-4129-AF6E-449EA40E5C4F}" dt="2021-02-07T21:09:28.107" v="2488" actId="1076"/>
          <ac:grpSpMkLst>
            <pc:docMk/>
            <pc:sldMk cId="1094870920" sldId="1735"/>
            <ac:grpSpMk id="126" creationId="{777353BD-1AE0-47AF-B0AB-CCB3DB2AB325}"/>
          </ac:grpSpMkLst>
        </pc:grpChg>
        <pc:grpChg chg="mod">
          <ac:chgData name="Ajit Kotwal" userId="781b8ab5-6f9a-4511-aed5-b50cf9e67252" providerId="ADAL" clId="{27E91C08-3CA6-4129-AF6E-449EA40E5C4F}" dt="2021-02-07T21:09:20.828" v="2487"/>
          <ac:grpSpMkLst>
            <pc:docMk/>
            <pc:sldMk cId="1094870920" sldId="1735"/>
            <ac:grpSpMk id="128" creationId="{E6584A59-62BA-40DC-8B7B-056C05275E7B}"/>
          </ac:grpSpMkLst>
        </pc:grpChg>
        <pc:cxnChg chg="mod">
          <ac:chgData name="Ajit Kotwal" userId="781b8ab5-6f9a-4511-aed5-b50cf9e67252" providerId="ADAL" clId="{27E91C08-3CA6-4129-AF6E-449EA40E5C4F}" dt="2021-02-07T21:08:04.152" v="2433" actId="1035"/>
          <ac:cxnSpMkLst>
            <pc:docMk/>
            <pc:sldMk cId="1094870920" sldId="1735"/>
            <ac:cxnSpMk id="48" creationId="{7354E8F2-26A2-4CCA-89B8-65B9B53DA07B}"/>
          </ac:cxnSpMkLst>
        </pc:cxnChg>
        <pc:cxnChg chg="mod">
          <ac:chgData name="Ajit Kotwal" userId="781b8ab5-6f9a-4511-aed5-b50cf9e67252" providerId="ADAL" clId="{27E91C08-3CA6-4129-AF6E-449EA40E5C4F}" dt="2021-02-07T21:08:04.152" v="2433" actId="1035"/>
          <ac:cxnSpMkLst>
            <pc:docMk/>
            <pc:sldMk cId="1094870920" sldId="1735"/>
            <ac:cxnSpMk id="49" creationId="{F03F52E1-9D12-4CD8-9AFB-DF3694F8E8DF}"/>
          </ac:cxnSpMkLst>
        </pc:cxnChg>
        <pc:cxnChg chg="mod">
          <ac:chgData name="Ajit Kotwal" userId="781b8ab5-6f9a-4511-aed5-b50cf9e67252" providerId="ADAL" clId="{27E91C08-3CA6-4129-AF6E-449EA40E5C4F}" dt="2021-02-07T21:08:04.152" v="2433" actId="1035"/>
          <ac:cxnSpMkLst>
            <pc:docMk/>
            <pc:sldMk cId="1094870920" sldId="1735"/>
            <ac:cxnSpMk id="52" creationId="{721FE680-81D2-484D-B86E-D8BCF74079FD}"/>
          </ac:cxnSpMkLst>
        </pc:cxnChg>
        <pc:cxnChg chg="mod">
          <ac:chgData name="Ajit Kotwal" userId="781b8ab5-6f9a-4511-aed5-b50cf9e67252" providerId="ADAL" clId="{27E91C08-3CA6-4129-AF6E-449EA40E5C4F}" dt="2021-02-07T21:09:10.872" v="2486" actId="1035"/>
          <ac:cxnSpMkLst>
            <pc:docMk/>
            <pc:sldMk cId="1094870920" sldId="1735"/>
            <ac:cxnSpMk id="53" creationId="{76FF7EC1-B2EB-4DC5-B055-C580BB6B5166}"/>
          </ac:cxnSpMkLst>
        </pc:cxnChg>
        <pc:cxnChg chg="add mod">
          <ac:chgData name="Ajit Kotwal" userId="781b8ab5-6f9a-4511-aed5-b50cf9e67252" providerId="ADAL" clId="{27E91C08-3CA6-4129-AF6E-449EA40E5C4F}" dt="2021-02-07T21:03:23.072" v="2137" actId="1076"/>
          <ac:cxnSpMkLst>
            <pc:docMk/>
            <pc:sldMk cId="1094870920" sldId="1735"/>
            <ac:cxnSpMk id="65" creationId="{566A09A1-5FB6-4FE4-B726-FEB8B2E47D53}"/>
          </ac:cxnSpMkLst>
        </pc:cxnChg>
        <pc:cxnChg chg="add mod">
          <ac:chgData name="Ajit Kotwal" userId="781b8ab5-6f9a-4511-aed5-b50cf9e67252" providerId="ADAL" clId="{27E91C08-3CA6-4129-AF6E-449EA40E5C4F}" dt="2021-02-07T21:08:04.152" v="2433" actId="1035"/>
          <ac:cxnSpMkLst>
            <pc:docMk/>
            <pc:sldMk cId="1094870920" sldId="1735"/>
            <ac:cxnSpMk id="98" creationId="{56B4E243-2A15-43FD-99D9-B710B21D3BB2}"/>
          </ac:cxnSpMkLst>
        </pc:cxnChg>
        <pc:cxnChg chg="del">
          <ac:chgData name="Ajit Kotwal" userId="781b8ab5-6f9a-4511-aed5-b50cf9e67252" providerId="ADAL" clId="{27E91C08-3CA6-4129-AF6E-449EA40E5C4F}" dt="2021-02-07T21:04:55.832" v="2223" actId="478"/>
          <ac:cxnSpMkLst>
            <pc:docMk/>
            <pc:sldMk cId="1094870920" sldId="1735"/>
            <ac:cxnSpMk id="105" creationId="{659FEA74-C3DC-4508-BE4F-3AF4CD4B39B4}"/>
          </ac:cxnSpMkLst>
        </pc:cxnChg>
        <pc:cxnChg chg="add mod">
          <ac:chgData name="Ajit Kotwal" userId="781b8ab5-6f9a-4511-aed5-b50cf9e67252" providerId="ADAL" clId="{27E91C08-3CA6-4129-AF6E-449EA40E5C4F}" dt="2021-02-07T21:07:40.060" v="2385" actId="1076"/>
          <ac:cxnSpMkLst>
            <pc:docMk/>
            <pc:sldMk cId="1094870920" sldId="1735"/>
            <ac:cxnSpMk id="115" creationId="{4FBEDC42-5A0E-49B4-B67B-3134FED54616}"/>
          </ac:cxnSpMkLst>
        </pc:cxnChg>
        <pc:cxnChg chg="add mod">
          <ac:chgData name="Ajit Kotwal" userId="781b8ab5-6f9a-4511-aed5-b50cf9e67252" providerId="ADAL" clId="{27E91C08-3CA6-4129-AF6E-449EA40E5C4F}" dt="2021-02-07T21:07:40.060" v="2385" actId="1076"/>
          <ac:cxnSpMkLst>
            <pc:docMk/>
            <pc:sldMk cId="1094870920" sldId="1735"/>
            <ac:cxnSpMk id="116" creationId="{01305CB6-6749-4B58-A3D3-83AB52CD6A5F}"/>
          </ac:cxnSpMkLst>
        </pc:cxnChg>
        <pc:cxnChg chg="add mod">
          <ac:chgData name="Ajit Kotwal" userId="781b8ab5-6f9a-4511-aed5-b50cf9e67252" providerId="ADAL" clId="{27E91C08-3CA6-4129-AF6E-449EA40E5C4F}" dt="2021-02-07T21:09:28.107" v="2488" actId="1076"/>
          <ac:cxnSpMkLst>
            <pc:docMk/>
            <pc:sldMk cId="1094870920" sldId="1735"/>
            <ac:cxnSpMk id="123" creationId="{713FD460-02CF-4F51-9F86-FBE610D83B91}"/>
          </ac:cxnSpMkLst>
        </pc:cxnChg>
        <pc:cxnChg chg="add mod">
          <ac:chgData name="Ajit Kotwal" userId="781b8ab5-6f9a-4511-aed5-b50cf9e67252" providerId="ADAL" clId="{27E91C08-3CA6-4129-AF6E-449EA40E5C4F}" dt="2021-02-07T21:09:28.107" v="2488" actId="1076"/>
          <ac:cxnSpMkLst>
            <pc:docMk/>
            <pc:sldMk cId="1094870920" sldId="1735"/>
            <ac:cxnSpMk id="124" creationId="{2DDEF6D8-BBC6-4296-B37A-0E31AA836319}"/>
          </ac:cxnSpMkLst>
        </pc:cxnChg>
      </pc:sldChg>
      <pc:sldChg chg="addSp">
        <pc:chgData name="Ajit Kotwal" userId="781b8ab5-6f9a-4511-aed5-b50cf9e67252" providerId="ADAL" clId="{27E91C08-3CA6-4129-AF6E-449EA40E5C4F}" dt="2021-02-07T17:34:30.379" v="1628"/>
        <pc:sldMkLst>
          <pc:docMk/>
          <pc:sldMk cId="2272377437" sldId="1735"/>
        </pc:sldMkLst>
        <pc:picChg chg="add">
          <ac:chgData name="Ajit Kotwal" userId="781b8ab5-6f9a-4511-aed5-b50cf9e67252" providerId="ADAL" clId="{27E91C08-3CA6-4129-AF6E-449EA40E5C4F}" dt="2021-02-07T17:34:30.379" v="1628"/>
          <ac:picMkLst>
            <pc:docMk/>
            <pc:sldMk cId="2272377437" sldId="1735"/>
            <ac:picMk id="1026" creationId="{90CEA6A0-2757-4F82-A96E-F02C81DE17CB}"/>
          </ac:picMkLst>
        </pc:picChg>
      </pc:sldChg>
      <pc:sldChg chg="addSp">
        <pc:chgData name="Ajit Kotwal" userId="781b8ab5-6f9a-4511-aed5-b50cf9e67252" providerId="ADAL" clId="{27E91C08-3CA6-4129-AF6E-449EA40E5C4F}" dt="2021-02-07T17:34:56.982" v="1631"/>
        <pc:sldMkLst>
          <pc:docMk/>
          <pc:sldMk cId="2967073707" sldId="1735"/>
        </pc:sldMkLst>
        <pc:picChg chg="add">
          <ac:chgData name="Ajit Kotwal" userId="781b8ab5-6f9a-4511-aed5-b50cf9e67252" providerId="ADAL" clId="{27E91C08-3CA6-4129-AF6E-449EA40E5C4F}" dt="2021-02-07T17:34:56.982" v="1631"/>
          <ac:picMkLst>
            <pc:docMk/>
            <pc:sldMk cId="2967073707" sldId="1735"/>
            <ac:picMk id="2050" creationId="{E5B1FB2D-D8BB-4F7B-BDC2-FAEAAEE4A3BF}"/>
          </ac:picMkLst>
        </pc:picChg>
      </pc:sldChg>
      <pc:sldChg chg="delSp modSp mod">
        <pc:chgData name="Ajit Kotwal" userId="781b8ab5-6f9a-4511-aed5-b50cf9e67252" providerId="ADAL" clId="{27E91C08-3CA6-4129-AF6E-449EA40E5C4F}" dt="2021-02-07T09:57:07.894" v="162" actId="20577"/>
        <pc:sldMkLst>
          <pc:docMk/>
          <pc:sldMk cId="2345068032" sldId="1786"/>
        </pc:sldMkLst>
        <pc:spChg chg="mod">
          <ac:chgData name="Ajit Kotwal" userId="781b8ab5-6f9a-4511-aed5-b50cf9e67252" providerId="ADAL" clId="{27E91C08-3CA6-4129-AF6E-449EA40E5C4F}" dt="2021-02-07T09:55:52.084" v="35" actId="6549"/>
          <ac:spMkLst>
            <pc:docMk/>
            <pc:sldMk cId="2345068032" sldId="1786"/>
            <ac:spMk id="2" creationId="{45010FE8-BF09-4146-B084-66CB05B66FD9}"/>
          </ac:spMkLst>
        </pc:spChg>
        <pc:spChg chg="mod">
          <ac:chgData name="Ajit Kotwal" userId="781b8ab5-6f9a-4511-aed5-b50cf9e67252" providerId="ADAL" clId="{27E91C08-3CA6-4129-AF6E-449EA40E5C4F}" dt="2021-02-07T09:56:33.709" v="94" actId="20577"/>
          <ac:spMkLst>
            <pc:docMk/>
            <pc:sldMk cId="2345068032" sldId="1786"/>
            <ac:spMk id="11" creationId="{76583F2C-13BC-4FA8-A9DE-F1F764C38F10}"/>
          </ac:spMkLst>
        </pc:spChg>
        <pc:spChg chg="mod">
          <ac:chgData name="Ajit Kotwal" userId="781b8ab5-6f9a-4511-aed5-b50cf9e67252" providerId="ADAL" clId="{27E91C08-3CA6-4129-AF6E-449EA40E5C4F}" dt="2021-02-07T09:57:07.894" v="162" actId="20577"/>
          <ac:spMkLst>
            <pc:docMk/>
            <pc:sldMk cId="2345068032" sldId="1786"/>
            <ac:spMk id="15" creationId="{BDD64BFD-7ED9-4476-ABC3-6BBAC4A275B2}"/>
          </ac:spMkLst>
        </pc:spChg>
        <pc:spChg chg="del">
          <ac:chgData name="Ajit Kotwal" userId="781b8ab5-6f9a-4511-aed5-b50cf9e67252" providerId="ADAL" clId="{27E91C08-3CA6-4129-AF6E-449EA40E5C4F}" dt="2021-02-07T09:56:02.129" v="36" actId="478"/>
          <ac:spMkLst>
            <pc:docMk/>
            <pc:sldMk cId="2345068032" sldId="1786"/>
            <ac:spMk id="27" creationId="{23A63D8C-A2A6-4D29-BE0C-940A4A5FC1E8}"/>
          </ac:spMkLst>
        </pc:spChg>
        <pc:grpChg chg="del">
          <ac:chgData name="Ajit Kotwal" userId="781b8ab5-6f9a-4511-aed5-b50cf9e67252" providerId="ADAL" clId="{27E91C08-3CA6-4129-AF6E-449EA40E5C4F}" dt="2021-02-07T09:56:02.129" v="36" actId="478"/>
          <ac:grpSpMkLst>
            <pc:docMk/>
            <pc:sldMk cId="2345068032" sldId="1786"/>
            <ac:grpSpMk id="22" creationId="{E7AAE775-4DA6-4987-863A-6C8999E1BAB8}"/>
          </ac:grpSpMkLst>
        </pc:grpChg>
        <pc:cxnChg chg="del">
          <ac:chgData name="Ajit Kotwal" userId="781b8ab5-6f9a-4511-aed5-b50cf9e67252" providerId="ADAL" clId="{27E91C08-3CA6-4129-AF6E-449EA40E5C4F}" dt="2021-02-07T09:56:02.129" v="36" actId="478"/>
          <ac:cxnSpMkLst>
            <pc:docMk/>
            <pc:sldMk cId="2345068032" sldId="1786"/>
            <ac:cxnSpMk id="10" creationId="{F2B453E7-1664-4B78-9B81-762FE2377F46}"/>
          </ac:cxnSpMkLst>
        </pc:cxnChg>
      </pc:sldChg>
      <pc:sldChg chg="del">
        <pc:chgData name="Ajit Kotwal" userId="781b8ab5-6f9a-4511-aed5-b50cf9e67252" providerId="ADAL" clId="{27E91C08-3CA6-4129-AF6E-449EA40E5C4F}" dt="2021-02-08T18:28:03.617" v="2554" actId="47"/>
        <pc:sldMkLst>
          <pc:docMk/>
          <pc:sldMk cId="3071064459" sldId="1795"/>
        </pc:sldMkLst>
      </pc:sldChg>
      <pc:sldChg chg="modSp mod">
        <pc:chgData name="Ajit Kotwal" userId="781b8ab5-6f9a-4511-aed5-b50cf9e67252" providerId="ADAL" clId="{27E91C08-3CA6-4129-AF6E-449EA40E5C4F}" dt="2021-02-07T21:08:35.113" v="2459" actId="20577"/>
        <pc:sldMkLst>
          <pc:docMk/>
          <pc:sldMk cId="2633977528" sldId="1798"/>
        </pc:sldMkLst>
        <pc:spChg chg="mod">
          <ac:chgData name="Ajit Kotwal" userId="781b8ab5-6f9a-4511-aed5-b50cf9e67252" providerId="ADAL" clId="{27E91C08-3CA6-4129-AF6E-449EA40E5C4F}" dt="2021-02-07T21:08:35.113" v="2459" actId="20577"/>
          <ac:spMkLst>
            <pc:docMk/>
            <pc:sldMk cId="2633977528" sldId="1798"/>
            <ac:spMk id="2" creationId="{45010FE8-BF09-4146-B084-66CB05B66FD9}"/>
          </ac:spMkLst>
        </pc:spChg>
        <pc:spChg chg="mod">
          <ac:chgData name="Ajit Kotwal" userId="781b8ab5-6f9a-4511-aed5-b50cf9e67252" providerId="ADAL" clId="{27E91C08-3CA6-4129-AF6E-449EA40E5C4F}" dt="2021-02-07T21:08:28.960" v="2440" actId="20577"/>
          <ac:spMkLst>
            <pc:docMk/>
            <pc:sldMk cId="2633977528" sldId="1798"/>
            <ac:spMk id="26" creationId="{3EE3908A-E7B2-4491-9919-73E1BE3FA993}"/>
          </ac:spMkLst>
        </pc:spChg>
      </pc:sldChg>
      <pc:sldChg chg="del mod modShow">
        <pc:chgData name="Ajit Kotwal" userId="781b8ab5-6f9a-4511-aed5-b50cf9e67252" providerId="ADAL" clId="{27E91C08-3CA6-4129-AF6E-449EA40E5C4F}" dt="2021-02-08T18:27:45.850" v="2551" actId="47"/>
        <pc:sldMkLst>
          <pc:docMk/>
          <pc:sldMk cId="2404984120" sldId="1801"/>
        </pc:sldMkLst>
      </pc:sldChg>
      <pc:sldChg chg="del mod modShow">
        <pc:chgData name="Ajit Kotwal" userId="781b8ab5-6f9a-4511-aed5-b50cf9e67252" providerId="ADAL" clId="{27E91C08-3CA6-4129-AF6E-449EA40E5C4F}" dt="2021-02-08T18:27:29.904" v="2537" actId="47"/>
        <pc:sldMkLst>
          <pc:docMk/>
          <pc:sldMk cId="2840498259" sldId="1802"/>
        </pc:sldMkLst>
      </pc:sldChg>
      <pc:sldChg chg="del mod modShow">
        <pc:chgData name="Ajit Kotwal" userId="781b8ab5-6f9a-4511-aed5-b50cf9e67252" providerId="ADAL" clId="{27E91C08-3CA6-4129-AF6E-449EA40E5C4F}" dt="2021-02-08T18:27:46.601" v="2552" actId="47"/>
        <pc:sldMkLst>
          <pc:docMk/>
          <pc:sldMk cId="3712031186" sldId="1803"/>
        </pc:sldMkLst>
      </pc:sldChg>
      <pc:sldChg chg="del mod modShow">
        <pc:chgData name="Ajit Kotwal" userId="781b8ab5-6f9a-4511-aed5-b50cf9e67252" providerId="ADAL" clId="{27E91C08-3CA6-4129-AF6E-449EA40E5C4F}" dt="2021-02-08T18:27:47.459" v="2553" actId="47"/>
        <pc:sldMkLst>
          <pc:docMk/>
          <pc:sldMk cId="439375703" sldId="1804"/>
        </pc:sldMkLst>
      </pc:sldChg>
      <pc:sldChg chg="modSp mod ord modCm">
        <pc:chgData name="Ajit Kotwal" userId="781b8ab5-6f9a-4511-aed5-b50cf9e67252" providerId="ADAL" clId="{27E91C08-3CA6-4129-AF6E-449EA40E5C4F}" dt="2021-02-14T18:28:48.569" v="8510"/>
        <pc:sldMkLst>
          <pc:docMk/>
          <pc:sldMk cId="2694433332" sldId="10224"/>
        </pc:sldMkLst>
        <pc:spChg chg="mod">
          <ac:chgData name="Ajit Kotwal" userId="781b8ab5-6f9a-4511-aed5-b50cf9e67252" providerId="ADAL" clId="{27E91C08-3CA6-4129-AF6E-449EA40E5C4F}" dt="2021-02-08T15:59:25.328" v="2529" actId="20577"/>
          <ac:spMkLst>
            <pc:docMk/>
            <pc:sldMk cId="2694433332" sldId="10224"/>
            <ac:spMk id="11" creationId="{76583F2C-13BC-4FA8-A9DE-F1F764C38F10}"/>
          </ac:spMkLst>
        </pc:spChg>
      </pc:sldChg>
      <pc:sldChg chg="del mod modShow">
        <pc:chgData name="Ajit Kotwal" userId="781b8ab5-6f9a-4511-aed5-b50cf9e67252" providerId="ADAL" clId="{27E91C08-3CA6-4129-AF6E-449EA40E5C4F}" dt="2021-02-08T18:27:30.749" v="2538" actId="47"/>
        <pc:sldMkLst>
          <pc:docMk/>
          <pc:sldMk cId="571974604" sldId="10225"/>
        </pc:sldMkLst>
      </pc:sldChg>
      <pc:sldChg chg="del mod modShow">
        <pc:chgData name="Ajit Kotwal" userId="781b8ab5-6f9a-4511-aed5-b50cf9e67252" providerId="ADAL" clId="{27E91C08-3CA6-4129-AF6E-449EA40E5C4F}" dt="2021-02-08T18:27:31.595" v="2539" actId="47"/>
        <pc:sldMkLst>
          <pc:docMk/>
          <pc:sldMk cId="1070235455" sldId="10226"/>
        </pc:sldMkLst>
      </pc:sldChg>
      <pc:sldChg chg="del mod modShow">
        <pc:chgData name="Ajit Kotwal" userId="781b8ab5-6f9a-4511-aed5-b50cf9e67252" providerId="ADAL" clId="{27E91C08-3CA6-4129-AF6E-449EA40E5C4F}" dt="2021-02-08T18:27:32.403" v="2540" actId="47"/>
        <pc:sldMkLst>
          <pc:docMk/>
          <pc:sldMk cId="2034386096" sldId="10227"/>
        </pc:sldMkLst>
      </pc:sldChg>
      <pc:sldChg chg="del mod modShow">
        <pc:chgData name="Ajit Kotwal" userId="781b8ab5-6f9a-4511-aed5-b50cf9e67252" providerId="ADAL" clId="{27E91C08-3CA6-4129-AF6E-449EA40E5C4F}" dt="2021-02-08T18:27:33.039" v="2541" actId="47"/>
        <pc:sldMkLst>
          <pc:docMk/>
          <pc:sldMk cId="1023467697" sldId="10228"/>
        </pc:sldMkLst>
      </pc:sldChg>
      <pc:sldChg chg="del mod modShow">
        <pc:chgData name="Ajit Kotwal" userId="781b8ab5-6f9a-4511-aed5-b50cf9e67252" providerId="ADAL" clId="{27E91C08-3CA6-4129-AF6E-449EA40E5C4F}" dt="2021-02-08T18:27:33.794" v="2542" actId="47"/>
        <pc:sldMkLst>
          <pc:docMk/>
          <pc:sldMk cId="529050805" sldId="10229"/>
        </pc:sldMkLst>
      </pc:sldChg>
      <pc:sldChg chg="del mod modShow">
        <pc:chgData name="Ajit Kotwal" userId="781b8ab5-6f9a-4511-aed5-b50cf9e67252" providerId="ADAL" clId="{27E91C08-3CA6-4129-AF6E-449EA40E5C4F}" dt="2021-02-08T18:27:35.170" v="2543" actId="47"/>
        <pc:sldMkLst>
          <pc:docMk/>
          <pc:sldMk cId="2728073195" sldId="10230"/>
        </pc:sldMkLst>
      </pc:sldChg>
      <pc:sldChg chg="del mod modShow">
        <pc:chgData name="Ajit Kotwal" userId="781b8ab5-6f9a-4511-aed5-b50cf9e67252" providerId="ADAL" clId="{27E91C08-3CA6-4129-AF6E-449EA40E5C4F}" dt="2021-02-08T18:27:35.933" v="2544" actId="47"/>
        <pc:sldMkLst>
          <pc:docMk/>
          <pc:sldMk cId="2277809161" sldId="10231"/>
        </pc:sldMkLst>
      </pc:sldChg>
      <pc:sldChg chg="del mod modShow">
        <pc:chgData name="Ajit Kotwal" userId="781b8ab5-6f9a-4511-aed5-b50cf9e67252" providerId="ADAL" clId="{27E91C08-3CA6-4129-AF6E-449EA40E5C4F}" dt="2021-02-08T18:27:36.663" v="2545" actId="47"/>
        <pc:sldMkLst>
          <pc:docMk/>
          <pc:sldMk cId="2937396061" sldId="10232"/>
        </pc:sldMkLst>
      </pc:sldChg>
      <pc:sldChg chg="del mod modShow">
        <pc:chgData name="Ajit Kotwal" userId="781b8ab5-6f9a-4511-aed5-b50cf9e67252" providerId="ADAL" clId="{27E91C08-3CA6-4129-AF6E-449EA40E5C4F}" dt="2021-02-08T18:27:37.433" v="2546" actId="47"/>
        <pc:sldMkLst>
          <pc:docMk/>
          <pc:sldMk cId="3122366589" sldId="10233"/>
        </pc:sldMkLst>
      </pc:sldChg>
      <pc:sldChg chg="del mod modShow">
        <pc:chgData name="Ajit Kotwal" userId="781b8ab5-6f9a-4511-aed5-b50cf9e67252" providerId="ADAL" clId="{27E91C08-3CA6-4129-AF6E-449EA40E5C4F}" dt="2021-02-08T18:27:38.313" v="2547" actId="47"/>
        <pc:sldMkLst>
          <pc:docMk/>
          <pc:sldMk cId="2645965190" sldId="10234"/>
        </pc:sldMkLst>
      </pc:sldChg>
      <pc:sldChg chg="del mod modShow">
        <pc:chgData name="Ajit Kotwal" userId="781b8ab5-6f9a-4511-aed5-b50cf9e67252" providerId="ADAL" clId="{27E91C08-3CA6-4129-AF6E-449EA40E5C4F}" dt="2021-02-08T18:27:39.362" v="2548" actId="47"/>
        <pc:sldMkLst>
          <pc:docMk/>
          <pc:sldMk cId="95892485" sldId="10235"/>
        </pc:sldMkLst>
      </pc:sldChg>
      <pc:sldChg chg="del mod modShow">
        <pc:chgData name="Ajit Kotwal" userId="781b8ab5-6f9a-4511-aed5-b50cf9e67252" providerId="ADAL" clId="{27E91C08-3CA6-4129-AF6E-449EA40E5C4F}" dt="2021-02-08T18:27:40.333" v="2549" actId="47"/>
        <pc:sldMkLst>
          <pc:docMk/>
          <pc:sldMk cId="3044422181" sldId="10236"/>
        </pc:sldMkLst>
      </pc:sldChg>
      <pc:sldChg chg="del mod modShow">
        <pc:chgData name="Ajit Kotwal" userId="781b8ab5-6f9a-4511-aed5-b50cf9e67252" providerId="ADAL" clId="{27E91C08-3CA6-4129-AF6E-449EA40E5C4F}" dt="2021-02-08T18:27:42.957" v="2550" actId="47"/>
        <pc:sldMkLst>
          <pc:docMk/>
          <pc:sldMk cId="832180747" sldId="10237"/>
        </pc:sldMkLst>
      </pc:sldChg>
      <pc:sldChg chg="modSp mod ord modCm">
        <pc:chgData name="Ajit Kotwal" userId="781b8ab5-6f9a-4511-aed5-b50cf9e67252" providerId="ADAL" clId="{27E91C08-3CA6-4129-AF6E-449EA40E5C4F}" dt="2021-02-14T18:28:10.510" v="8509"/>
        <pc:sldMkLst>
          <pc:docMk/>
          <pc:sldMk cId="3869426496" sldId="10238"/>
        </pc:sldMkLst>
        <pc:spChg chg="mod">
          <ac:chgData name="Ajit Kotwal" userId="781b8ab5-6f9a-4511-aed5-b50cf9e67252" providerId="ADAL" clId="{27E91C08-3CA6-4129-AF6E-449EA40E5C4F}" dt="2021-02-08T15:58:00.453" v="2509" actId="20577"/>
          <ac:spMkLst>
            <pc:docMk/>
            <pc:sldMk cId="3869426496" sldId="10238"/>
            <ac:spMk id="2" creationId="{45010FE8-BF09-4146-B084-66CB05B66FD9}"/>
          </ac:spMkLst>
        </pc:spChg>
      </pc:sldChg>
      <pc:sldChg chg="modSp mod">
        <pc:chgData name="Ajit Kotwal" userId="781b8ab5-6f9a-4511-aed5-b50cf9e67252" providerId="ADAL" clId="{27E91C08-3CA6-4129-AF6E-449EA40E5C4F}" dt="2021-02-07T15:40:55.913" v="1161" actId="13926"/>
        <pc:sldMkLst>
          <pc:docMk/>
          <pc:sldMk cId="1764450474" sldId="10239"/>
        </pc:sldMkLst>
        <pc:spChg chg="mod">
          <ac:chgData name="Ajit Kotwal" userId="781b8ab5-6f9a-4511-aed5-b50cf9e67252" providerId="ADAL" clId="{27E91C08-3CA6-4129-AF6E-449EA40E5C4F}" dt="2021-02-07T15:38:27.905" v="1085" actId="20577"/>
          <ac:spMkLst>
            <pc:docMk/>
            <pc:sldMk cId="1764450474" sldId="10239"/>
            <ac:spMk id="2" creationId="{45010FE8-BF09-4146-B084-66CB05B66FD9}"/>
          </ac:spMkLst>
        </pc:spChg>
        <pc:spChg chg="mod">
          <ac:chgData name="Ajit Kotwal" userId="781b8ab5-6f9a-4511-aed5-b50cf9e67252" providerId="ADAL" clId="{27E91C08-3CA6-4129-AF6E-449EA40E5C4F}" dt="2021-02-07T15:40:55.913" v="1161" actId="13926"/>
          <ac:spMkLst>
            <pc:docMk/>
            <pc:sldMk cId="1764450474" sldId="10239"/>
            <ac:spMk id="35" creationId="{82583F54-FD2D-4CF8-9F12-0C897B1000EF}"/>
          </ac:spMkLst>
        </pc:spChg>
        <pc:spChg chg="mod">
          <ac:chgData name="Ajit Kotwal" userId="781b8ab5-6f9a-4511-aed5-b50cf9e67252" providerId="ADAL" clId="{27E91C08-3CA6-4129-AF6E-449EA40E5C4F}" dt="2021-02-07T15:40:07.375" v="1159" actId="13926"/>
          <ac:spMkLst>
            <pc:docMk/>
            <pc:sldMk cId="1764450474" sldId="10239"/>
            <ac:spMk id="39" creationId="{4D6FC085-C053-4D1E-8598-BF7A1B956072}"/>
          </ac:spMkLst>
        </pc:spChg>
        <pc:spChg chg="mod">
          <ac:chgData name="Ajit Kotwal" userId="781b8ab5-6f9a-4511-aed5-b50cf9e67252" providerId="ADAL" clId="{27E91C08-3CA6-4129-AF6E-449EA40E5C4F}" dt="2021-02-07T15:40:15.596" v="1160" actId="13926"/>
          <ac:spMkLst>
            <pc:docMk/>
            <pc:sldMk cId="1764450474" sldId="10239"/>
            <ac:spMk id="43" creationId="{8D779325-EE33-4684-A270-CAC2DCE65BA6}"/>
          </ac:spMkLst>
        </pc:spChg>
        <pc:spChg chg="mod">
          <ac:chgData name="Ajit Kotwal" userId="781b8ab5-6f9a-4511-aed5-b50cf9e67252" providerId="ADAL" clId="{27E91C08-3CA6-4129-AF6E-449EA40E5C4F}" dt="2021-02-07T15:39:37.031" v="1124" actId="6549"/>
          <ac:spMkLst>
            <pc:docMk/>
            <pc:sldMk cId="1764450474" sldId="10239"/>
            <ac:spMk id="50" creationId="{899A069E-8A45-412F-AD95-9171B760F465}"/>
          </ac:spMkLst>
        </pc:spChg>
        <pc:spChg chg="mod">
          <ac:chgData name="Ajit Kotwal" userId="781b8ab5-6f9a-4511-aed5-b50cf9e67252" providerId="ADAL" clId="{27E91C08-3CA6-4129-AF6E-449EA40E5C4F}" dt="2021-02-07T15:40:01.628" v="1158" actId="6549"/>
          <ac:spMkLst>
            <pc:docMk/>
            <pc:sldMk cId="1764450474" sldId="10239"/>
            <ac:spMk id="51" creationId="{B15689F8-F6E3-4453-833B-0D8CBBBA5F35}"/>
          </ac:spMkLst>
        </pc:spChg>
      </pc:sldChg>
      <pc:sldChg chg="del mod modShow">
        <pc:chgData name="Ajit Kotwal" userId="781b8ab5-6f9a-4511-aed5-b50cf9e67252" providerId="ADAL" clId="{27E91C08-3CA6-4129-AF6E-449EA40E5C4F}" dt="2021-02-08T18:27:25.799" v="2534" actId="47"/>
        <pc:sldMkLst>
          <pc:docMk/>
          <pc:sldMk cId="1915014439" sldId="10240"/>
        </pc:sldMkLst>
      </pc:sldChg>
      <pc:sldChg chg="del mod modShow">
        <pc:chgData name="Ajit Kotwal" userId="781b8ab5-6f9a-4511-aed5-b50cf9e67252" providerId="ADAL" clId="{27E91C08-3CA6-4129-AF6E-449EA40E5C4F}" dt="2021-02-08T18:27:27.186" v="2535" actId="47"/>
        <pc:sldMkLst>
          <pc:docMk/>
          <pc:sldMk cId="3230079221" sldId="10241"/>
        </pc:sldMkLst>
      </pc:sldChg>
      <pc:sldChg chg="del mod modShow">
        <pc:chgData name="Ajit Kotwal" userId="781b8ab5-6f9a-4511-aed5-b50cf9e67252" providerId="ADAL" clId="{27E91C08-3CA6-4129-AF6E-449EA40E5C4F}" dt="2021-02-08T18:27:28.312" v="2536" actId="47"/>
        <pc:sldMkLst>
          <pc:docMk/>
          <pc:sldMk cId="1758469215" sldId="10242"/>
        </pc:sldMkLst>
      </pc:sldChg>
      <pc:sldChg chg="modSp add mod modCm">
        <pc:chgData name="Ajit Kotwal" userId="781b8ab5-6f9a-4511-aed5-b50cf9e67252" providerId="ADAL" clId="{27E91C08-3CA6-4129-AF6E-449EA40E5C4F}" dt="2021-02-08T15:55:40.511" v="2497"/>
        <pc:sldMkLst>
          <pc:docMk/>
          <pc:sldMk cId="1247591511" sldId="10243"/>
        </pc:sldMkLst>
        <pc:spChg chg="mod">
          <ac:chgData name="Ajit Kotwal" userId="781b8ab5-6f9a-4511-aed5-b50cf9e67252" providerId="ADAL" clId="{27E91C08-3CA6-4129-AF6E-449EA40E5C4F}" dt="2021-02-07T10:03:34.259" v="183" actId="20577"/>
          <ac:spMkLst>
            <pc:docMk/>
            <pc:sldMk cId="1247591511" sldId="10243"/>
            <ac:spMk id="2" creationId="{45010FE8-BF09-4146-B084-66CB05B66FD9}"/>
          </ac:spMkLst>
        </pc:spChg>
        <pc:spChg chg="mod">
          <ac:chgData name="Ajit Kotwal" userId="781b8ab5-6f9a-4511-aed5-b50cf9e67252" providerId="ADAL" clId="{27E91C08-3CA6-4129-AF6E-449EA40E5C4F}" dt="2021-02-07T10:03:56.260" v="229" actId="20577"/>
          <ac:spMkLst>
            <pc:docMk/>
            <pc:sldMk cId="1247591511" sldId="10243"/>
            <ac:spMk id="11" creationId="{76583F2C-13BC-4FA8-A9DE-F1F764C38F10}"/>
          </ac:spMkLst>
        </pc:spChg>
        <pc:spChg chg="mod">
          <ac:chgData name="Ajit Kotwal" userId="781b8ab5-6f9a-4511-aed5-b50cf9e67252" providerId="ADAL" clId="{27E91C08-3CA6-4129-AF6E-449EA40E5C4F}" dt="2021-02-07T10:04:08.826" v="230" actId="20577"/>
          <ac:spMkLst>
            <pc:docMk/>
            <pc:sldMk cId="1247591511" sldId="10243"/>
            <ac:spMk id="15" creationId="{BDD64BFD-7ED9-4476-ABC3-6BBAC4A275B2}"/>
          </ac:spMkLst>
        </pc:spChg>
      </pc:sldChg>
      <pc:sldChg chg="addSp delSp modSp add mod modCm">
        <pc:chgData name="Ajit Kotwal" userId="781b8ab5-6f9a-4511-aed5-b50cf9e67252" providerId="ADAL" clId="{27E91C08-3CA6-4129-AF6E-449EA40E5C4F}" dt="2021-02-14T18:27:10.004" v="8508" actId="20577"/>
        <pc:sldMkLst>
          <pc:docMk/>
          <pc:sldMk cId="2495781146" sldId="10244"/>
        </pc:sldMkLst>
        <pc:spChg chg="mod">
          <ac:chgData name="Ajit Kotwal" userId="781b8ab5-6f9a-4511-aed5-b50cf9e67252" providerId="ADAL" clId="{27E91C08-3CA6-4129-AF6E-449EA40E5C4F}" dt="2021-02-07T10:04:39.929" v="252" actId="20577"/>
          <ac:spMkLst>
            <pc:docMk/>
            <pc:sldMk cId="2495781146" sldId="10244"/>
            <ac:spMk id="9" creationId="{5F10B7DA-EBAD-49D8-8636-A3336D68F659}"/>
          </ac:spMkLst>
        </pc:spChg>
        <pc:spChg chg="mod">
          <ac:chgData name="Ajit Kotwal" userId="781b8ab5-6f9a-4511-aed5-b50cf9e67252" providerId="ADAL" clId="{27E91C08-3CA6-4129-AF6E-449EA40E5C4F}" dt="2021-02-14T18:27:10.004" v="8508" actId="20577"/>
          <ac:spMkLst>
            <pc:docMk/>
            <pc:sldMk cId="2495781146" sldId="10244"/>
            <ac:spMk id="11" creationId="{76583F2C-13BC-4FA8-A9DE-F1F764C38F10}"/>
          </ac:spMkLst>
        </pc:spChg>
        <pc:spChg chg="mod">
          <ac:chgData name="Ajit Kotwal" userId="781b8ab5-6f9a-4511-aed5-b50cf9e67252" providerId="ADAL" clId="{27E91C08-3CA6-4129-AF6E-449EA40E5C4F}" dt="2021-02-07T12:45:33.924" v="270" actId="14100"/>
          <ac:spMkLst>
            <pc:docMk/>
            <pc:sldMk cId="2495781146" sldId="10244"/>
            <ac:spMk id="15" creationId="{BDD64BFD-7ED9-4476-ABC3-6BBAC4A275B2}"/>
          </ac:spMkLst>
        </pc:spChg>
        <pc:spChg chg="del">
          <ac:chgData name="Ajit Kotwal" userId="781b8ab5-6f9a-4511-aed5-b50cf9e67252" providerId="ADAL" clId="{27E91C08-3CA6-4129-AF6E-449EA40E5C4F}" dt="2021-02-07T12:45:26.899" v="269" actId="478"/>
          <ac:spMkLst>
            <pc:docMk/>
            <pc:sldMk cId="2495781146" sldId="10244"/>
            <ac:spMk id="27" creationId="{23A63D8C-A2A6-4D29-BE0C-940A4A5FC1E8}"/>
          </ac:spMkLst>
        </pc:spChg>
        <pc:grpChg chg="del">
          <ac:chgData name="Ajit Kotwal" userId="781b8ab5-6f9a-4511-aed5-b50cf9e67252" providerId="ADAL" clId="{27E91C08-3CA6-4129-AF6E-449EA40E5C4F}" dt="2021-02-07T12:45:26.899" v="269" actId="478"/>
          <ac:grpSpMkLst>
            <pc:docMk/>
            <pc:sldMk cId="2495781146" sldId="10244"/>
            <ac:grpSpMk id="22" creationId="{E7AAE775-4DA6-4987-863A-6C8999E1BAB8}"/>
          </ac:grpSpMkLst>
        </pc:grpChg>
        <pc:picChg chg="add del mod">
          <ac:chgData name="Ajit Kotwal" userId="781b8ab5-6f9a-4511-aed5-b50cf9e67252" providerId="ADAL" clId="{27E91C08-3CA6-4129-AF6E-449EA40E5C4F}" dt="2021-02-07T10:07:59.552" v="259" actId="478"/>
          <ac:picMkLst>
            <pc:docMk/>
            <pc:sldMk cId="2495781146" sldId="10244"/>
            <ac:picMk id="5" creationId="{9D69A275-96F5-4DB8-B03A-0A1A7EE6DFE7}"/>
          </ac:picMkLst>
        </pc:picChg>
        <pc:picChg chg="add del mod">
          <ac:chgData name="Ajit Kotwal" userId="781b8ab5-6f9a-4511-aed5-b50cf9e67252" providerId="ADAL" clId="{27E91C08-3CA6-4129-AF6E-449EA40E5C4F}" dt="2021-02-07T12:44:47.149" v="265" actId="478"/>
          <ac:picMkLst>
            <pc:docMk/>
            <pc:sldMk cId="2495781146" sldId="10244"/>
            <ac:picMk id="7" creationId="{A4742A51-B9AE-4921-B91F-F65C4E356F76}"/>
          </ac:picMkLst>
        </pc:picChg>
        <pc:picChg chg="add del mod">
          <ac:chgData name="Ajit Kotwal" userId="781b8ab5-6f9a-4511-aed5-b50cf9e67252" providerId="ADAL" clId="{27E91C08-3CA6-4129-AF6E-449EA40E5C4F}" dt="2021-02-07T12:49:35.747" v="273" actId="478"/>
          <ac:picMkLst>
            <pc:docMk/>
            <pc:sldMk cId="2495781146" sldId="10244"/>
            <ac:picMk id="16" creationId="{CF5D822D-9334-41C0-BB68-76E567F1EFDE}"/>
          </ac:picMkLst>
        </pc:picChg>
        <pc:picChg chg="add del mod">
          <ac:chgData name="Ajit Kotwal" userId="781b8ab5-6f9a-4511-aed5-b50cf9e67252" providerId="ADAL" clId="{27E91C08-3CA6-4129-AF6E-449EA40E5C4F}" dt="2021-02-07T12:51:35.741" v="278" actId="478"/>
          <ac:picMkLst>
            <pc:docMk/>
            <pc:sldMk cId="2495781146" sldId="10244"/>
            <ac:picMk id="18" creationId="{94397B49-4B21-40AC-8C86-D5285149377F}"/>
          </ac:picMkLst>
        </pc:picChg>
        <pc:picChg chg="add mod">
          <ac:chgData name="Ajit Kotwal" userId="781b8ab5-6f9a-4511-aed5-b50cf9e67252" providerId="ADAL" clId="{27E91C08-3CA6-4129-AF6E-449EA40E5C4F}" dt="2021-02-07T12:51:53.090" v="283" actId="14100"/>
          <ac:picMkLst>
            <pc:docMk/>
            <pc:sldMk cId="2495781146" sldId="10244"/>
            <ac:picMk id="20" creationId="{B28CF6E5-11A5-4568-8621-C0E2C870D390}"/>
          </ac:picMkLst>
        </pc:picChg>
        <pc:cxnChg chg="del">
          <ac:chgData name="Ajit Kotwal" userId="781b8ab5-6f9a-4511-aed5-b50cf9e67252" providerId="ADAL" clId="{27E91C08-3CA6-4129-AF6E-449EA40E5C4F}" dt="2021-02-07T12:45:26.899" v="269" actId="478"/>
          <ac:cxnSpMkLst>
            <pc:docMk/>
            <pc:sldMk cId="2495781146" sldId="10244"/>
            <ac:cxnSpMk id="10" creationId="{F2B453E7-1664-4B78-9B81-762FE2377F46}"/>
          </ac:cxnSpMkLst>
        </pc:cxnChg>
      </pc:sldChg>
      <pc:sldChg chg="modSp add del mod">
        <pc:chgData name="Ajit Kotwal" userId="781b8ab5-6f9a-4511-aed5-b50cf9e67252" providerId="ADAL" clId="{27E91C08-3CA6-4129-AF6E-449EA40E5C4F}" dt="2021-02-07T15:25:19.765" v="1066" actId="47"/>
        <pc:sldMkLst>
          <pc:docMk/>
          <pc:sldMk cId="3930321242" sldId="10245"/>
        </pc:sldMkLst>
        <pc:spChg chg="mod">
          <ac:chgData name="Ajit Kotwal" userId="781b8ab5-6f9a-4511-aed5-b50cf9e67252" providerId="ADAL" clId="{27E91C08-3CA6-4129-AF6E-449EA40E5C4F}" dt="2021-02-07T15:16:34.568" v="784" actId="20577"/>
          <ac:spMkLst>
            <pc:docMk/>
            <pc:sldMk cId="3930321242" sldId="10245"/>
            <ac:spMk id="2" creationId="{45010FE8-BF09-4146-B084-66CB05B66FD9}"/>
          </ac:spMkLst>
        </pc:spChg>
        <pc:spChg chg="mod">
          <ac:chgData name="Ajit Kotwal" userId="781b8ab5-6f9a-4511-aed5-b50cf9e67252" providerId="ADAL" clId="{27E91C08-3CA6-4129-AF6E-449EA40E5C4F}" dt="2021-02-07T15:17:18.235" v="876" actId="20577"/>
          <ac:spMkLst>
            <pc:docMk/>
            <pc:sldMk cId="3930321242" sldId="10245"/>
            <ac:spMk id="11" creationId="{76583F2C-13BC-4FA8-A9DE-F1F764C38F10}"/>
          </ac:spMkLst>
        </pc:spChg>
        <pc:spChg chg="mod">
          <ac:chgData name="Ajit Kotwal" userId="781b8ab5-6f9a-4511-aed5-b50cf9e67252" providerId="ADAL" clId="{27E91C08-3CA6-4129-AF6E-449EA40E5C4F}" dt="2021-02-07T15:19:25.024" v="1059" actId="20577"/>
          <ac:spMkLst>
            <pc:docMk/>
            <pc:sldMk cId="3930321242" sldId="10245"/>
            <ac:spMk id="15" creationId="{BDD64BFD-7ED9-4476-ABC3-6BBAC4A275B2}"/>
          </ac:spMkLst>
        </pc:spChg>
      </pc:sldChg>
      <pc:sldChg chg="modSp add mod">
        <pc:chgData name="Ajit Kotwal" userId="781b8ab5-6f9a-4511-aed5-b50cf9e67252" providerId="ADAL" clId="{27E91C08-3CA6-4129-AF6E-449EA40E5C4F}" dt="2021-02-08T18:47:35.448" v="2824"/>
        <pc:sldMkLst>
          <pc:docMk/>
          <pc:sldMk cId="1467403973" sldId="10246"/>
        </pc:sldMkLst>
        <pc:spChg chg="mod">
          <ac:chgData name="Ajit Kotwal" userId="781b8ab5-6f9a-4511-aed5-b50cf9e67252" providerId="ADAL" clId="{27E91C08-3CA6-4129-AF6E-449EA40E5C4F}" dt="2021-02-08T18:47:35.448" v="2824"/>
          <ac:spMkLst>
            <pc:docMk/>
            <pc:sldMk cId="1467403973" sldId="10246"/>
            <ac:spMk id="2" creationId="{45010FE8-BF09-4146-B084-66CB05B66FD9}"/>
          </ac:spMkLst>
        </pc:spChg>
        <pc:spChg chg="mod">
          <ac:chgData name="Ajit Kotwal" userId="781b8ab5-6f9a-4511-aed5-b50cf9e67252" providerId="ADAL" clId="{27E91C08-3CA6-4129-AF6E-449EA40E5C4F}" dt="2021-02-07T20:36:12.667" v="1789"/>
          <ac:spMkLst>
            <pc:docMk/>
            <pc:sldMk cId="1467403973" sldId="10246"/>
            <ac:spMk id="11" creationId="{76583F2C-13BC-4FA8-A9DE-F1F764C38F10}"/>
          </ac:spMkLst>
        </pc:spChg>
        <pc:spChg chg="mod">
          <ac:chgData name="Ajit Kotwal" userId="781b8ab5-6f9a-4511-aed5-b50cf9e67252" providerId="ADAL" clId="{27E91C08-3CA6-4129-AF6E-449EA40E5C4F}" dt="2021-02-07T21:00:12.944" v="1995" actId="6549"/>
          <ac:spMkLst>
            <pc:docMk/>
            <pc:sldMk cId="1467403973" sldId="10246"/>
            <ac:spMk id="15" creationId="{BDD64BFD-7ED9-4476-ABC3-6BBAC4A275B2}"/>
          </ac:spMkLst>
        </pc:spChg>
      </pc:sldChg>
      <pc:sldChg chg="addSp delSp modSp add mod">
        <pc:chgData name="Ajit Kotwal" userId="781b8ab5-6f9a-4511-aed5-b50cf9e67252" providerId="ADAL" clId="{27E91C08-3CA6-4129-AF6E-449EA40E5C4F}" dt="2021-02-14T11:07:40.215" v="8361" actId="1038"/>
        <pc:sldMkLst>
          <pc:docMk/>
          <pc:sldMk cId="1090235674" sldId="10247"/>
        </pc:sldMkLst>
        <pc:spChg chg="mod">
          <ac:chgData name="Ajit Kotwal" userId="781b8ab5-6f9a-4511-aed5-b50cf9e67252" providerId="ADAL" clId="{27E91C08-3CA6-4129-AF6E-449EA40E5C4F}" dt="2021-02-08T18:47:03.818" v="2823" actId="20577"/>
          <ac:spMkLst>
            <pc:docMk/>
            <pc:sldMk cId="1090235674" sldId="10247"/>
            <ac:spMk id="2" creationId="{45010FE8-BF09-4146-B084-66CB05B66FD9}"/>
          </ac:spMkLst>
        </pc:spChg>
        <pc:spChg chg="mod">
          <ac:chgData name="Ajit Kotwal" userId="781b8ab5-6f9a-4511-aed5-b50cf9e67252" providerId="ADAL" clId="{27E91C08-3CA6-4129-AF6E-449EA40E5C4F}" dt="2021-02-07T14:17:50.611" v="635" actId="6549"/>
          <ac:spMkLst>
            <pc:docMk/>
            <pc:sldMk cId="1090235674" sldId="10247"/>
            <ac:spMk id="9" creationId="{5F10B7DA-EBAD-49D8-8636-A3336D68F659}"/>
          </ac:spMkLst>
        </pc:spChg>
        <pc:spChg chg="mod">
          <ac:chgData name="Ajit Kotwal" userId="781b8ab5-6f9a-4511-aed5-b50cf9e67252" providerId="ADAL" clId="{27E91C08-3CA6-4129-AF6E-449EA40E5C4F}" dt="2021-02-07T15:05:01.607" v="716" actId="20577"/>
          <ac:spMkLst>
            <pc:docMk/>
            <pc:sldMk cId="1090235674" sldId="10247"/>
            <ac:spMk id="11" creationId="{76583F2C-13BC-4FA8-A9DE-F1F764C38F10}"/>
          </ac:spMkLst>
        </pc:spChg>
        <pc:spChg chg="del mod">
          <ac:chgData name="Ajit Kotwal" userId="781b8ab5-6f9a-4511-aed5-b50cf9e67252" providerId="ADAL" clId="{27E91C08-3CA6-4129-AF6E-449EA40E5C4F}" dt="2021-02-07T14:52:48.014" v="662" actId="478"/>
          <ac:spMkLst>
            <pc:docMk/>
            <pc:sldMk cId="1090235674" sldId="10247"/>
            <ac:spMk id="15" creationId="{BDD64BFD-7ED9-4476-ABC3-6BBAC4A275B2}"/>
          </ac:spMkLst>
        </pc:spChg>
        <pc:picChg chg="add del mod">
          <ac:chgData name="Ajit Kotwal" userId="781b8ab5-6f9a-4511-aed5-b50cf9e67252" providerId="ADAL" clId="{27E91C08-3CA6-4129-AF6E-449EA40E5C4F}" dt="2021-02-07T14:50:05.198" v="647" actId="478"/>
          <ac:picMkLst>
            <pc:docMk/>
            <pc:sldMk cId="1090235674" sldId="10247"/>
            <ac:picMk id="5" creationId="{77CFD01B-4ED6-4B6F-8A2C-80D53C4EAE5D}"/>
          </ac:picMkLst>
        </pc:picChg>
        <pc:picChg chg="add del mod">
          <ac:chgData name="Ajit Kotwal" userId="781b8ab5-6f9a-4511-aed5-b50cf9e67252" providerId="ADAL" clId="{27E91C08-3CA6-4129-AF6E-449EA40E5C4F}" dt="2021-02-07T14:51:48.337" v="654" actId="478"/>
          <ac:picMkLst>
            <pc:docMk/>
            <pc:sldMk cId="1090235674" sldId="10247"/>
            <ac:picMk id="7" creationId="{1381EC97-E9E5-48DD-9DC5-CF28149909E7}"/>
          </ac:picMkLst>
        </pc:picChg>
        <pc:picChg chg="add del mod">
          <ac:chgData name="Ajit Kotwal" userId="781b8ab5-6f9a-4511-aed5-b50cf9e67252" providerId="ADAL" clId="{27E91C08-3CA6-4129-AF6E-449EA40E5C4F}" dt="2021-02-07T15:03:02.544" v="665" actId="478"/>
          <ac:picMkLst>
            <pc:docMk/>
            <pc:sldMk cId="1090235674" sldId="10247"/>
            <ac:picMk id="16" creationId="{EA40C9E0-F5AC-493F-8F4F-0BD1D5FA1917}"/>
          </ac:picMkLst>
        </pc:picChg>
        <pc:picChg chg="add del mod">
          <ac:chgData name="Ajit Kotwal" userId="781b8ab5-6f9a-4511-aed5-b50cf9e67252" providerId="ADAL" clId="{27E91C08-3CA6-4129-AF6E-449EA40E5C4F}" dt="2021-02-07T15:03:04.560" v="666" actId="478"/>
          <ac:picMkLst>
            <pc:docMk/>
            <pc:sldMk cId="1090235674" sldId="10247"/>
            <ac:picMk id="18" creationId="{50ADF23A-991C-4195-BF6C-AA565E065637}"/>
          </ac:picMkLst>
        </pc:picChg>
        <pc:picChg chg="add del mod">
          <ac:chgData name="Ajit Kotwal" userId="781b8ab5-6f9a-4511-aed5-b50cf9e67252" providerId="ADAL" clId="{27E91C08-3CA6-4129-AF6E-449EA40E5C4F}" dt="2021-02-07T15:03:59.999" v="671" actId="478"/>
          <ac:picMkLst>
            <pc:docMk/>
            <pc:sldMk cId="1090235674" sldId="10247"/>
            <ac:picMk id="20" creationId="{AB15DC19-9C57-430B-9ABD-18D57F325549}"/>
          </ac:picMkLst>
        </pc:picChg>
        <pc:picChg chg="add del mod">
          <ac:chgData name="Ajit Kotwal" userId="781b8ab5-6f9a-4511-aed5-b50cf9e67252" providerId="ADAL" clId="{27E91C08-3CA6-4129-AF6E-449EA40E5C4F}" dt="2021-02-07T15:12:46.126" v="718" actId="478"/>
          <ac:picMkLst>
            <pc:docMk/>
            <pc:sldMk cId="1090235674" sldId="10247"/>
            <ac:picMk id="22" creationId="{004263B3-232C-45B4-80AD-A5AA0EE16DCE}"/>
          </ac:picMkLst>
        </pc:picChg>
        <pc:picChg chg="add mod">
          <ac:chgData name="Ajit Kotwal" userId="781b8ab5-6f9a-4511-aed5-b50cf9e67252" providerId="ADAL" clId="{27E91C08-3CA6-4129-AF6E-449EA40E5C4F}" dt="2021-02-14T11:07:40.215" v="8361" actId="1038"/>
          <ac:picMkLst>
            <pc:docMk/>
            <pc:sldMk cId="1090235674" sldId="10247"/>
            <ac:picMk id="24" creationId="{B4A20AE3-0C1D-4EFD-A32A-C5D48C939811}"/>
          </ac:picMkLst>
        </pc:picChg>
      </pc:sldChg>
      <pc:sldChg chg="modSp add del mod">
        <pc:chgData name="Ajit Kotwal" userId="781b8ab5-6f9a-4511-aed5-b50cf9e67252" providerId="ADAL" clId="{27E91C08-3CA6-4129-AF6E-449EA40E5C4F}" dt="2021-02-07T15:41:19.010" v="1162" actId="47"/>
        <pc:sldMkLst>
          <pc:docMk/>
          <pc:sldMk cId="1679225427" sldId="10248"/>
        </pc:sldMkLst>
        <pc:spChg chg="mod">
          <ac:chgData name="Ajit Kotwal" userId="781b8ab5-6f9a-4511-aed5-b50cf9e67252" providerId="ADAL" clId="{27E91C08-3CA6-4129-AF6E-449EA40E5C4F}" dt="2021-02-07T15:38:41.518" v="1089" actId="20577"/>
          <ac:spMkLst>
            <pc:docMk/>
            <pc:sldMk cId="1679225427" sldId="10248"/>
            <ac:spMk id="2" creationId="{45010FE8-BF09-4146-B084-66CB05B66FD9}"/>
          </ac:spMkLst>
        </pc:spChg>
      </pc:sldChg>
      <pc:sldChg chg="add del">
        <pc:chgData name="Ajit Kotwal" userId="781b8ab5-6f9a-4511-aed5-b50cf9e67252" providerId="ADAL" clId="{27E91C08-3CA6-4129-AF6E-449EA40E5C4F}" dt="2021-02-07T15:06:33.075" v="717" actId="47"/>
        <pc:sldMkLst>
          <pc:docMk/>
          <pc:sldMk cId="2081521887" sldId="10248"/>
        </pc:sldMkLst>
      </pc:sldChg>
      <pc:sldChg chg="delSp modSp add mod">
        <pc:chgData name="Ajit Kotwal" userId="781b8ab5-6f9a-4511-aed5-b50cf9e67252" providerId="ADAL" clId="{27E91C08-3CA6-4129-AF6E-449EA40E5C4F}" dt="2021-02-07T15:48:33.934" v="1481" actId="20577"/>
        <pc:sldMkLst>
          <pc:docMk/>
          <pc:sldMk cId="3655946138" sldId="10248"/>
        </pc:sldMkLst>
        <pc:spChg chg="mod">
          <ac:chgData name="Ajit Kotwal" userId="781b8ab5-6f9a-4511-aed5-b50cf9e67252" providerId="ADAL" clId="{27E91C08-3CA6-4129-AF6E-449EA40E5C4F}" dt="2021-02-07T15:41:30.084" v="1166" actId="20577"/>
          <ac:spMkLst>
            <pc:docMk/>
            <pc:sldMk cId="3655946138" sldId="10248"/>
            <ac:spMk id="2" creationId="{45010FE8-BF09-4146-B084-66CB05B66FD9}"/>
          </ac:spMkLst>
        </pc:spChg>
        <pc:spChg chg="mod">
          <ac:chgData name="Ajit Kotwal" userId="781b8ab5-6f9a-4511-aed5-b50cf9e67252" providerId="ADAL" clId="{27E91C08-3CA6-4129-AF6E-449EA40E5C4F}" dt="2021-02-07T15:45:00.837" v="1301" actId="20577"/>
          <ac:spMkLst>
            <pc:docMk/>
            <pc:sldMk cId="3655946138" sldId="10248"/>
            <ac:spMk id="31" creationId="{3D0C7387-BCC5-418B-BEB0-3A7022CB8768}"/>
          </ac:spMkLst>
        </pc:spChg>
        <pc:spChg chg="del">
          <ac:chgData name="Ajit Kotwal" userId="781b8ab5-6f9a-4511-aed5-b50cf9e67252" providerId="ADAL" clId="{27E91C08-3CA6-4129-AF6E-449EA40E5C4F}" dt="2021-02-07T15:42:26.619" v="1195" actId="478"/>
          <ac:spMkLst>
            <pc:docMk/>
            <pc:sldMk cId="3655946138" sldId="10248"/>
            <ac:spMk id="35" creationId="{82583F54-FD2D-4CF8-9F12-0C897B1000EF}"/>
          </ac:spMkLst>
        </pc:spChg>
        <pc:spChg chg="mod">
          <ac:chgData name="Ajit Kotwal" userId="781b8ab5-6f9a-4511-aed5-b50cf9e67252" providerId="ADAL" clId="{27E91C08-3CA6-4129-AF6E-449EA40E5C4F}" dt="2021-02-07T15:43:37.690" v="1255" actId="1036"/>
          <ac:spMkLst>
            <pc:docMk/>
            <pc:sldMk cId="3655946138" sldId="10248"/>
            <ac:spMk id="39" creationId="{4D6FC085-C053-4D1E-8598-BF7A1B956072}"/>
          </ac:spMkLst>
        </pc:spChg>
        <pc:spChg chg="del">
          <ac:chgData name="Ajit Kotwal" userId="781b8ab5-6f9a-4511-aed5-b50cf9e67252" providerId="ADAL" clId="{27E91C08-3CA6-4129-AF6E-449EA40E5C4F}" dt="2021-02-07T15:43:10.666" v="1197" actId="478"/>
          <ac:spMkLst>
            <pc:docMk/>
            <pc:sldMk cId="3655946138" sldId="10248"/>
            <ac:spMk id="43" creationId="{8D779325-EE33-4684-A270-CAC2DCE65BA6}"/>
          </ac:spMkLst>
        </pc:spChg>
        <pc:spChg chg="mod">
          <ac:chgData name="Ajit Kotwal" userId="781b8ab5-6f9a-4511-aed5-b50cf9e67252" providerId="ADAL" clId="{27E91C08-3CA6-4129-AF6E-449EA40E5C4F}" dt="2021-02-07T15:48:33.934" v="1481" actId="20577"/>
          <ac:spMkLst>
            <pc:docMk/>
            <pc:sldMk cId="3655946138" sldId="10248"/>
            <ac:spMk id="48" creationId="{EC1991FE-22CA-4473-8132-A42D261176C3}"/>
          </ac:spMkLst>
        </pc:spChg>
        <pc:spChg chg="del">
          <ac:chgData name="Ajit Kotwal" userId="781b8ab5-6f9a-4511-aed5-b50cf9e67252" providerId="ADAL" clId="{27E91C08-3CA6-4129-AF6E-449EA40E5C4F}" dt="2021-02-07T15:42:26.619" v="1195" actId="478"/>
          <ac:spMkLst>
            <pc:docMk/>
            <pc:sldMk cId="3655946138" sldId="10248"/>
            <ac:spMk id="49" creationId="{6F4E48B8-4202-4A6F-AA01-A6BF6628D6FC}"/>
          </ac:spMkLst>
        </pc:spChg>
        <pc:spChg chg="mod">
          <ac:chgData name="Ajit Kotwal" userId="781b8ab5-6f9a-4511-aed5-b50cf9e67252" providerId="ADAL" clId="{27E91C08-3CA6-4129-AF6E-449EA40E5C4F}" dt="2021-02-07T15:43:37.690" v="1255" actId="1036"/>
          <ac:spMkLst>
            <pc:docMk/>
            <pc:sldMk cId="3655946138" sldId="10248"/>
            <ac:spMk id="50" creationId="{899A069E-8A45-412F-AD95-9171B760F465}"/>
          </ac:spMkLst>
        </pc:spChg>
        <pc:spChg chg="del">
          <ac:chgData name="Ajit Kotwal" userId="781b8ab5-6f9a-4511-aed5-b50cf9e67252" providerId="ADAL" clId="{27E91C08-3CA6-4129-AF6E-449EA40E5C4F}" dt="2021-02-07T15:43:10.666" v="1197" actId="478"/>
          <ac:spMkLst>
            <pc:docMk/>
            <pc:sldMk cId="3655946138" sldId="10248"/>
            <ac:spMk id="51" creationId="{B15689F8-F6E3-4453-833B-0D8CBBBA5F35}"/>
          </ac:spMkLst>
        </pc:spChg>
        <pc:grpChg chg="del">
          <ac:chgData name="Ajit Kotwal" userId="781b8ab5-6f9a-4511-aed5-b50cf9e67252" providerId="ADAL" clId="{27E91C08-3CA6-4129-AF6E-449EA40E5C4F}" dt="2021-02-07T15:42:26.619" v="1195" actId="478"/>
          <ac:grpSpMkLst>
            <pc:docMk/>
            <pc:sldMk cId="3655946138" sldId="10248"/>
            <ac:grpSpMk id="36" creationId="{595FD759-2F2A-44DD-8CC3-3EA1C720B0D4}"/>
          </ac:grpSpMkLst>
        </pc:grpChg>
        <pc:grpChg chg="mod">
          <ac:chgData name="Ajit Kotwal" userId="781b8ab5-6f9a-4511-aed5-b50cf9e67252" providerId="ADAL" clId="{27E91C08-3CA6-4129-AF6E-449EA40E5C4F}" dt="2021-02-07T15:43:37.690" v="1255" actId="1036"/>
          <ac:grpSpMkLst>
            <pc:docMk/>
            <pc:sldMk cId="3655946138" sldId="10248"/>
            <ac:grpSpMk id="40" creationId="{774983D6-3708-4E25-B0CE-5291AD0F72ED}"/>
          </ac:grpSpMkLst>
        </pc:grpChg>
        <pc:grpChg chg="del">
          <ac:chgData name="Ajit Kotwal" userId="781b8ab5-6f9a-4511-aed5-b50cf9e67252" providerId="ADAL" clId="{27E91C08-3CA6-4129-AF6E-449EA40E5C4F}" dt="2021-02-07T15:43:10.666" v="1197" actId="478"/>
          <ac:grpSpMkLst>
            <pc:docMk/>
            <pc:sldMk cId="3655946138" sldId="10248"/>
            <ac:grpSpMk id="44" creationId="{89255C37-BCFD-4036-9F5F-002DCA5AE29F}"/>
          </ac:grpSpMkLst>
        </pc:grpChg>
        <pc:cxnChg chg="del">
          <ac:chgData name="Ajit Kotwal" userId="781b8ab5-6f9a-4511-aed5-b50cf9e67252" providerId="ADAL" clId="{27E91C08-3CA6-4129-AF6E-449EA40E5C4F}" dt="2021-02-07T15:42:26.619" v="1195" actId="478"/>
          <ac:cxnSpMkLst>
            <pc:docMk/>
            <pc:sldMk cId="3655946138" sldId="10248"/>
            <ac:cxnSpMk id="28" creationId="{502F0AE0-091E-4632-9F6B-85E6B0D9F0CD}"/>
          </ac:cxnSpMkLst>
        </pc:cxnChg>
        <pc:cxnChg chg="mod">
          <ac:chgData name="Ajit Kotwal" userId="781b8ab5-6f9a-4511-aed5-b50cf9e67252" providerId="ADAL" clId="{27E91C08-3CA6-4129-AF6E-449EA40E5C4F}" dt="2021-02-07T15:43:37.690" v="1255" actId="1036"/>
          <ac:cxnSpMkLst>
            <pc:docMk/>
            <pc:sldMk cId="3655946138" sldId="10248"/>
            <ac:cxnSpMk id="29" creationId="{EB84DF05-BA26-4958-A40A-7B14F3E434D4}"/>
          </ac:cxnSpMkLst>
        </pc:cxnChg>
        <pc:cxnChg chg="del">
          <ac:chgData name="Ajit Kotwal" userId="781b8ab5-6f9a-4511-aed5-b50cf9e67252" providerId="ADAL" clId="{27E91C08-3CA6-4129-AF6E-449EA40E5C4F}" dt="2021-02-07T15:43:10.666" v="1197" actId="478"/>
          <ac:cxnSpMkLst>
            <pc:docMk/>
            <pc:sldMk cId="3655946138" sldId="10248"/>
            <ac:cxnSpMk id="30" creationId="{99CCBDAB-104D-4665-8A69-BFDEA24A3F10}"/>
          </ac:cxnSpMkLst>
        </pc:cxnChg>
      </pc:sldChg>
      <pc:sldChg chg="modSp add mod ord">
        <pc:chgData name="Ajit Kotwal" userId="781b8ab5-6f9a-4511-aed5-b50cf9e67252" providerId="ADAL" clId="{27E91C08-3CA6-4129-AF6E-449EA40E5C4F}" dt="2021-02-13T13:45:07.881" v="3253"/>
        <pc:sldMkLst>
          <pc:docMk/>
          <pc:sldMk cId="2437523513" sldId="10249"/>
        </pc:sldMkLst>
        <pc:spChg chg="mod">
          <ac:chgData name="Ajit Kotwal" userId="781b8ab5-6f9a-4511-aed5-b50cf9e67252" providerId="ADAL" clId="{27E91C08-3CA6-4129-AF6E-449EA40E5C4F}" dt="2021-02-13T13:43:27.239" v="3195" actId="20577"/>
          <ac:spMkLst>
            <pc:docMk/>
            <pc:sldMk cId="2437523513" sldId="10249"/>
            <ac:spMk id="2" creationId="{45010FE8-BF09-4146-B084-66CB05B66FD9}"/>
          </ac:spMkLst>
        </pc:spChg>
        <pc:spChg chg="mod">
          <ac:chgData name="Ajit Kotwal" userId="781b8ab5-6f9a-4511-aed5-b50cf9e67252" providerId="ADAL" clId="{27E91C08-3CA6-4129-AF6E-449EA40E5C4F}" dt="2021-02-13T13:43:36.265" v="3213" actId="20577"/>
          <ac:spMkLst>
            <pc:docMk/>
            <pc:sldMk cId="2437523513" sldId="10249"/>
            <ac:spMk id="11" creationId="{76583F2C-13BC-4FA8-A9DE-F1F764C38F10}"/>
          </ac:spMkLst>
        </pc:spChg>
        <pc:spChg chg="mod">
          <ac:chgData name="Ajit Kotwal" userId="781b8ab5-6f9a-4511-aed5-b50cf9e67252" providerId="ADAL" clId="{27E91C08-3CA6-4129-AF6E-449EA40E5C4F}" dt="2021-02-13T13:43:59.578" v="3241" actId="20577"/>
          <ac:spMkLst>
            <pc:docMk/>
            <pc:sldMk cId="2437523513" sldId="10249"/>
            <ac:spMk id="15" creationId="{BDD64BFD-7ED9-4476-ABC3-6BBAC4A275B2}"/>
          </ac:spMkLst>
        </pc:spChg>
      </pc:sldChg>
      <pc:sldChg chg="modSp add mod">
        <pc:chgData name="Ajit Kotwal" userId="781b8ab5-6f9a-4511-aed5-b50cf9e67252" providerId="ADAL" clId="{27E91C08-3CA6-4129-AF6E-449EA40E5C4F}" dt="2021-02-07T17:35:40.982" v="1647" actId="20577"/>
        <pc:sldMkLst>
          <pc:docMk/>
          <pc:sldMk cId="2238344170" sldId="10250"/>
        </pc:sldMkLst>
        <pc:spChg chg="mod">
          <ac:chgData name="Ajit Kotwal" userId="781b8ab5-6f9a-4511-aed5-b50cf9e67252" providerId="ADAL" clId="{27E91C08-3CA6-4129-AF6E-449EA40E5C4F}" dt="2021-02-07T17:35:40.982" v="1647" actId="20577"/>
          <ac:spMkLst>
            <pc:docMk/>
            <pc:sldMk cId="2238344170" sldId="10250"/>
            <ac:spMk id="8" creationId="{B641FCBC-9EF2-4AD6-AD44-163FDED01C39}"/>
          </ac:spMkLst>
        </pc:spChg>
      </pc:sldChg>
      <pc:sldChg chg="modSp add mod">
        <pc:chgData name="Ajit Kotwal" userId="781b8ab5-6f9a-4511-aed5-b50cf9e67252" providerId="ADAL" clId="{27E91C08-3CA6-4129-AF6E-449EA40E5C4F}" dt="2021-02-07T17:36:12.696" v="1685" actId="20577"/>
        <pc:sldMkLst>
          <pc:docMk/>
          <pc:sldMk cId="1580086726" sldId="10251"/>
        </pc:sldMkLst>
        <pc:spChg chg="mod">
          <ac:chgData name="Ajit Kotwal" userId="781b8ab5-6f9a-4511-aed5-b50cf9e67252" providerId="ADAL" clId="{27E91C08-3CA6-4129-AF6E-449EA40E5C4F}" dt="2021-02-07T17:36:12.696" v="1685" actId="20577"/>
          <ac:spMkLst>
            <pc:docMk/>
            <pc:sldMk cId="1580086726" sldId="10251"/>
            <ac:spMk id="8" creationId="{B641FCBC-9EF2-4AD6-AD44-163FDED01C39}"/>
          </ac:spMkLst>
        </pc:spChg>
      </pc:sldChg>
      <pc:sldChg chg="modSp add mod">
        <pc:chgData name="Ajit Kotwal" userId="781b8ab5-6f9a-4511-aed5-b50cf9e67252" providerId="ADAL" clId="{27E91C08-3CA6-4129-AF6E-449EA40E5C4F}" dt="2021-02-07T17:36:26.700" v="1695" actId="20577"/>
        <pc:sldMkLst>
          <pc:docMk/>
          <pc:sldMk cId="1223170369" sldId="10252"/>
        </pc:sldMkLst>
        <pc:spChg chg="mod">
          <ac:chgData name="Ajit Kotwal" userId="781b8ab5-6f9a-4511-aed5-b50cf9e67252" providerId="ADAL" clId="{27E91C08-3CA6-4129-AF6E-449EA40E5C4F}" dt="2021-02-07T17:36:26.700" v="1695" actId="20577"/>
          <ac:spMkLst>
            <pc:docMk/>
            <pc:sldMk cId="1223170369" sldId="10252"/>
            <ac:spMk id="8" creationId="{B641FCBC-9EF2-4AD6-AD44-163FDED01C39}"/>
          </ac:spMkLst>
        </pc:spChg>
      </pc:sldChg>
      <pc:sldChg chg="modSp add mod">
        <pc:chgData name="Ajit Kotwal" userId="781b8ab5-6f9a-4511-aed5-b50cf9e67252" providerId="ADAL" clId="{27E91C08-3CA6-4129-AF6E-449EA40E5C4F}" dt="2021-02-07T17:36:46.170" v="1726" actId="20577"/>
        <pc:sldMkLst>
          <pc:docMk/>
          <pc:sldMk cId="35563500" sldId="10253"/>
        </pc:sldMkLst>
        <pc:spChg chg="mod">
          <ac:chgData name="Ajit Kotwal" userId="781b8ab5-6f9a-4511-aed5-b50cf9e67252" providerId="ADAL" clId="{27E91C08-3CA6-4129-AF6E-449EA40E5C4F}" dt="2021-02-07T17:36:46.170" v="1726" actId="20577"/>
          <ac:spMkLst>
            <pc:docMk/>
            <pc:sldMk cId="35563500" sldId="10253"/>
            <ac:spMk id="8" creationId="{B641FCBC-9EF2-4AD6-AD44-163FDED01C39}"/>
          </ac:spMkLst>
        </pc:spChg>
      </pc:sldChg>
      <pc:sldChg chg="modSp add mod">
        <pc:chgData name="Ajit Kotwal" userId="781b8ab5-6f9a-4511-aed5-b50cf9e67252" providerId="ADAL" clId="{27E91C08-3CA6-4129-AF6E-449EA40E5C4F}" dt="2021-02-07T17:37:16.196" v="1739" actId="20577"/>
        <pc:sldMkLst>
          <pc:docMk/>
          <pc:sldMk cId="2909635083" sldId="10254"/>
        </pc:sldMkLst>
        <pc:spChg chg="mod">
          <ac:chgData name="Ajit Kotwal" userId="781b8ab5-6f9a-4511-aed5-b50cf9e67252" providerId="ADAL" clId="{27E91C08-3CA6-4129-AF6E-449EA40E5C4F}" dt="2021-02-07T17:37:16.196" v="1739" actId="20577"/>
          <ac:spMkLst>
            <pc:docMk/>
            <pc:sldMk cId="2909635083" sldId="10254"/>
            <ac:spMk id="8" creationId="{B641FCBC-9EF2-4AD6-AD44-163FDED01C39}"/>
          </ac:spMkLst>
        </pc:spChg>
      </pc:sldChg>
      <pc:sldChg chg="modSp add mod">
        <pc:chgData name="Ajit Kotwal" userId="781b8ab5-6f9a-4511-aed5-b50cf9e67252" providerId="ADAL" clId="{27E91C08-3CA6-4129-AF6E-449EA40E5C4F}" dt="2021-02-07T17:37:39.494" v="1758" actId="20577"/>
        <pc:sldMkLst>
          <pc:docMk/>
          <pc:sldMk cId="2807746370" sldId="10255"/>
        </pc:sldMkLst>
        <pc:spChg chg="mod">
          <ac:chgData name="Ajit Kotwal" userId="781b8ab5-6f9a-4511-aed5-b50cf9e67252" providerId="ADAL" clId="{27E91C08-3CA6-4129-AF6E-449EA40E5C4F}" dt="2021-02-07T17:37:39.494" v="1758" actId="20577"/>
          <ac:spMkLst>
            <pc:docMk/>
            <pc:sldMk cId="2807746370" sldId="10255"/>
            <ac:spMk id="8" creationId="{B641FCBC-9EF2-4AD6-AD44-163FDED01C39}"/>
          </ac:spMkLst>
        </pc:spChg>
      </pc:sldChg>
      <pc:sldChg chg="modSp add del mod setBg modCm">
        <pc:chgData name="Ajit Kotwal" userId="781b8ab5-6f9a-4511-aed5-b50cf9e67252" providerId="ADAL" clId="{27E91C08-3CA6-4129-AF6E-449EA40E5C4F}" dt="2021-02-14T18:38:54.489" v="8511" actId="47"/>
        <pc:sldMkLst>
          <pc:docMk/>
          <pc:sldMk cId="3549929259" sldId="10256"/>
        </pc:sldMkLst>
        <pc:spChg chg="mod">
          <ac:chgData name="Ajit Kotwal" userId="781b8ab5-6f9a-4511-aed5-b50cf9e67252" providerId="ADAL" clId="{27E91C08-3CA6-4129-AF6E-449EA40E5C4F}" dt="2021-02-07T21:01:55.869" v="2132" actId="20577"/>
          <ac:spMkLst>
            <pc:docMk/>
            <pc:sldMk cId="3549929259" sldId="10256"/>
            <ac:spMk id="8" creationId="{B641FCBC-9EF2-4AD6-AD44-163FDED01C39}"/>
          </ac:spMkLst>
        </pc:spChg>
      </pc:sldChg>
      <pc:sldChg chg="addSp delSp modSp mod modCm">
        <pc:chgData name="Ajit Kotwal" userId="781b8ab5-6f9a-4511-aed5-b50cf9e67252" providerId="ADAL" clId="{27E91C08-3CA6-4129-AF6E-449EA40E5C4F}" dt="2021-02-13T13:24:59.930" v="2971" actId="20577"/>
        <pc:sldMkLst>
          <pc:docMk/>
          <pc:sldMk cId="706792741" sldId="10259"/>
        </pc:sldMkLst>
        <pc:spChg chg="mod">
          <ac:chgData name="Ajit Kotwal" userId="781b8ab5-6f9a-4511-aed5-b50cf9e67252" providerId="ADAL" clId="{27E91C08-3CA6-4129-AF6E-449EA40E5C4F}" dt="2021-02-13T13:16:21.949" v="2889" actId="20577"/>
          <ac:spMkLst>
            <pc:docMk/>
            <pc:sldMk cId="706792741" sldId="10259"/>
            <ac:spMk id="2" creationId="{11981002-9C29-43DD-9EFC-331DD8486892}"/>
          </ac:spMkLst>
        </pc:spChg>
        <pc:spChg chg="add">
          <ac:chgData name="Ajit Kotwal" userId="781b8ab5-6f9a-4511-aed5-b50cf9e67252" providerId="ADAL" clId="{27E91C08-3CA6-4129-AF6E-449EA40E5C4F}" dt="2021-02-08T18:49:07.519" v="2827" actId="22"/>
          <ac:spMkLst>
            <pc:docMk/>
            <pc:sldMk cId="706792741" sldId="10259"/>
            <ac:spMk id="4" creationId="{044BE232-5AE6-4E93-B8F1-C958C532B056}"/>
          </ac:spMkLst>
        </pc:spChg>
        <pc:spChg chg="add del">
          <ac:chgData name="Ajit Kotwal" userId="781b8ab5-6f9a-4511-aed5-b50cf9e67252" providerId="ADAL" clId="{27E91C08-3CA6-4129-AF6E-449EA40E5C4F}" dt="2021-02-08T18:48:54.864" v="2826" actId="22"/>
          <ac:spMkLst>
            <pc:docMk/>
            <pc:sldMk cId="706792741" sldId="10259"/>
            <ac:spMk id="9" creationId="{3E96410D-AFFC-4426-B589-708C401CBEB3}"/>
          </ac:spMkLst>
        </pc:spChg>
        <pc:graphicFrameChg chg="mod">
          <ac:chgData name="Ajit Kotwal" userId="781b8ab5-6f9a-4511-aed5-b50cf9e67252" providerId="ADAL" clId="{27E91C08-3CA6-4129-AF6E-449EA40E5C4F}" dt="2021-02-13T13:24:59.930" v="2971" actId="20577"/>
          <ac:graphicFrameMkLst>
            <pc:docMk/>
            <pc:sldMk cId="706792741" sldId="10259"/>
            <ac:graphicFrameMk id="8" creationId="{9C3FA538-2EEB-4441-958F-8EEC1522DF33}"/>
          </ac:graphicFrameMkLst>
        </pc:graphicFrameChg>
        <pc:graphicFrameChg chg="mod">
          <ac:chgData name="Ajit Kotwal" userId="781b8ab5-6f9a-4511-aed5-b50cf9e67252" providerId="ADAL" clId="{27E91C08-3CA6-4129-AF6E-449EA40E5C4F}" dt="2021-02-08T18:33:30.219" v="2729" actId="20577"/>
          <ac:graphicFrameMkLst>
            <pc:docMk/>
            <pc:sldMk cId="706792741" sldId="10259"/>
            <ac:graphicFrameMk id="12" creationId="{0BA42EE4-2131-467C-8AC6-CFACB976FC9C}"/>
          </ac:graphicFrameMkLst>
        </pc:graphicFrameChg>
      </pc:sldChg>
      <pc:sldChg chg="addSp modSp mod addCm">
        <pc:chgData name="Ajit Kotwal" userId="781b8ab5-6f9a-4511-aed5-b50cf9e67252" providerId="ADAL" clId="{27E91C08-3CA6-4129-AF6E-449EA40E5C4F}" dt="2021-02-08T18:49:17.381" v="2828" actId="22"/>
        <pc:sldMkLst>
          <pc:docMk/>
          <pc:sldMk cId="3979634199" sldId="10260"/>
        </pc:sldMkLst>
        <pc:spChg chg="add">
          <ac:chgData name="Ajit Kotwal" userId="781b8ab5-6f9a-4511-aed5-b50cf9e67252" providerId="ADAL" clId="{27E91C08-3CA6-4129-AF6E-449EA40E5C4F}" dt="2021-02-08T18:49:17.381" v="2828" actId="22"/>
          <ac:spMkLst>
            <pc:docMk/>
            <pc:sldMk cId="3979634199" sldId="10260"/>
            <ac:spMk id="2" creationId="{F2EB7CDF-9049-4C66-AD51-558F6559E8DD}"/>
          </ac:spMkLst>
        </pc:spChg>
        <pc:spChg chg="mod">
          <ac:chgData name="Ajit Kotwal" userId="781b8ab5-6f9a-4511-aed5-b50cf9e67252" providerId="ADAL" clId="{27E91C08-3CA6-4129-AF6E-449EA40E5C4F}" dt="2021-02-08T18:46:04.356" v="2792" actId="20577"/>
          <ac:spMkLst>
            <pc:docMk/>
            <pc:sldMk cId="3979634199" sldId="10260"/>
            <ac:spMk id="5" creationId="{547A5090-3200-4E66-A6DC-F99D1225FD99}"/>
          </ac:spMkLst>
        </pc:spChg>
        <pc:graphicFrameChg chg="mod modGraphic">
          <ac:chgData name="Ajit Kotwal" userId="781b8ab5-6f9a-4511-aed5-b50cf9e67252" providerId="ADAL" clId="{27E91C08-3CA6-4129-AF6E-449EA40E5C4F}" dt="2021-02-08T18:41:43.238" v="2790" actId="5793"/>
          <ac:graphicFrameMkLst>
            <pc:docMk/>
            <pc:sldMk cId="3979634199" sldId="10260"/>
            <ac:graphicFrameMk id="7" creationId="{E1DA1B01-B825-4EF5-A3CE-BCA4EBDD6C74}"/>
          </ac:graphicFrameMkLst>
        </pc:graphicFrameChg>
      </pc:sldChg>
      <pc:sldChg chg="modSp mod ord">
        <pc:chgData name="Ajit Kotwal" userId="781b8ab5-6f9a-4511-aed5-b50cf9e67252" providerId="ADAL" clId="{27E91C08-3CA6-4129-AF6E-449EA40E5C4F}" dt="2021-02-13T13:53:27.261" v="3279"/>
        <pc:sldMkLst>
          <pc:docMk/>
          <pc:sldMk cId="1419640178" sldId="10261"/>
        </pc:sldMkLst>
        <pc:spChg chg="mod">
          <ac:chgData name="Ajit Kotwal" userId="781b8ab5-6f9a-4511-aed5-b50cf9e67252" providerId="ADAL" clId="{27E91C08-3CA6-4129-AF6E-449EA40E5C4F}" dt="2021-02-13T13:46:24.477" v="3261" actId="20577"/>
          <ac:spMkLst>
            <pc:docMk/>
            <pc:sldMk cId="1419640178" sldId="10261"/>
            <ac:spMk id="2" creationId="{11981002-9C29-43DD-9EFC-331DD8486892}"/>
          </ac:spMkLst>
        </pc:spChg>
      </pc:sldChg>
      <pc:sldChg chg="modSp mod ord">
        <pc:chgData name="Ajit Kotwal" userId="781b8ab5-6f9a-4511-aed5-b50cf9e67252" providerId="ADAL" clId="{27E91C08-3CA6-4129-AF6E-449EA40E5C4F}" dt="2021-02-13T13:53:27.261" v="3279"/>
        <pc:sldMkLst>
          <pc:docMk/>
          <pc:sldMk cId="2361702661" sldId="10262"/>
        </pc:sldMkLst>
        <pc:spChg chg="mod">
          <ac:chgData name="Ajit Kotwal" userId="781b8ab5-6f9a-4511-aed5-b50cf9e67252" providerId="ADAL" clId="{27E91C08-3CA6-4129-AF6E-449EA40E5C4F}" dt="2021-02-13T13:46:30.327" v="3269" actId="20577"/>
          <ac:spMkLst>
            <pc:docMk/>
            <pc:sldMk cId="2361702661" sldId="10262"/>
            <ac:spMk id="2" creationId="{11981002-9C29-43DD-9EFC-331DD8486892}"/>
          </ac:spMkLst>
        </pc:spChg>
      </pc:sldChg>
      <pc:sldChg chg="modSp mod ord">
        <pc:chgData name="Ajit Kotwal" userId="781b8ab5-6f9a-4511-aed5-b50cf9e67252" providerId="ADAL" clId="{27E91C08-3CA6-4129-AF6E-449EA40E5C4F}" dt="2021-02-13T13:53:39.707" v="3281"/>
        <pc:sldMkLst>
          <pc:docMk/>
          <pc:sldMk cId="3865687768" sldId="10263"/>
        </pc:sldMkLst>
        <pc:spChg chg="mod">
          <ac:chgData name="Ajit Kotwal" userId="781b8ab5-6f9a-4511-aed5-b50cf9e67252" providerId="ADAL" clId="{27E91C08-3CA6-4129-AF6E-449EA40E5C4F}" dt="2021-02-13T13:46:38.300" v="3277" actId="20577"/>
          <ac:spMkLst>
            <pc:docMk/>
            <pc:sldMk cId="3865687768" sldId="10263"/>
            <ac:spMk id="2" creationId="{11981002-9C29-43DD-9EFC-331DD8486892}"/>
          </ac:spMkLst>
        </pc:spChg>
      </pc:sldChg>
      <pc:sldChg chg="modSp mod ord addCm">
        <pc:chgData name="Ajit Kotwal" userId="781b8ab5-6f9a-4511-aed5-b50cf9e67252" providerId="ADAL" clId="{27E91C08-3CA6-4129-AF6E-449EA40E5C4F}" dt="2021-02-13T13:44:34.797" v="3249" actId="20577"/>
        <pc:sldMkLst>
          <pc:docMk/>
          <pc:sldMk cId="221291899" sldId="10264"/>
        </pc:sldMkLst>
        <pc:spChg chg="mod">
          <ac:chgData name="Ajit Kotwal" userId="781b8ab5-6f9a-4511-aed5-b50cf9e67252" providerId="ADAL" clId="{27E91C08-3CA6-4129-AF6E-449EA40E5C4F}" dt="2021-02-13T13:44:34.797" v="3249" actId="20577"/>
          <ac:spMkLst>
            <pc:docMk/>
            <pc:sldMk cId="221291899" sldId="10264"/>
            <ac:spMk id="2" creationId="{11981002-9C29-43DD-9EFC-331DD8486892}"/>
          </ac:spMkLst>
        </pc:spChg>
        <pc:graphicFrameChg chg="mod">
          <ac:chgData name="Ajit Kotwal" userId="781b8ab5-6f9a-4511-aed5-b50cf9e67252" providerId="ADAL" clId="{27E91C08-3CA6-4129-AF6E-449EA40E5C4F}" dt="2021-02-13T13:37:01.281" v="3173" actId="20577"/>
          <ac:graphicFrameMkLst>
            <pc:docMk/>
            <pc:sldMk cId="221291899" sldId="10264"/>
            <ac:graphicFrameMk id="12" creationId="{0BA42EE4-2131-467C-8AC6-CFACB976FC9C}"/>
          </ac:graphicFrameMkLst>
        </pc:graphicFrameChg>
      </pc:sldChg>
      <pc:sldChg chg="modSp add mod">
        <pc:chgData name="Ajit Kotwal" userId="781b8ab5-6f9a-4511-aed5-b50cf9e67252" providerId="ADAL" clId="{27E91C08-3CA6-4129-AF6E-449EA40E5C4F}" dt="2021-02-13T13:31:23.769" v="2985" actId="20577"/>
        <pc:sldMkLst>
          <pc:docMk/>
          <pc:sldMk cId="391996366" sldId="10265"/>
        </pc:sldMkLst>
        <pc:spChg chg="mod">
          <ac:chgData name="Ajit Kotwal" userId="781b8ab5-6f9a-4511-aed5-b50cf9e67252" providerId="ADAL" clId="{27E91C08-3CA6-4129-AF6E-449EA40E5C4F}" dt="2021-02-13T13:31:23.769" v="2985" actId="20577"/>
          <ac:spMkLst>
            <pc:docMk/>
            <pc:sldMk cId="391996366" sldId="10265"/>
            <ac:spMk id="8" creationId="{B641FCBC-9EF2-4AD6-AD44-163FDED01C39}"/>
          </ac:spMkLst>
        </pc:spChg>
      </pc:sldChg>
      <pc:sldChg chg="modSp add mod">
        <pc:chgData name="Ajit Kotwal" userId="781b8ab5-6f9a-4511-aed5-b50cf9e67252" providerId="ADAL" clId="{27E91C08-3CA6-4129-AF6E-449EA40E5C4F}" dt="2021-02-13T13:31:40.755" v="3012" actId="20577"/>
        <pc:sldMkLst>
          <pc:docMk/>
          <pc:sldMk cId="1464311764" sldId="10266"/>
        </pc:sldMkLst>
        <pc:spChg chg="mod">
          <ac:chgData name="Ajit Kotwal" userId="781b8ab5-6f9a-4511-aed5-b50cf9e67252" providerId="ADAL" clId="{27E91C08-3CA6-4129-AF6E-449EA40E5C4F}" dt="2021-02-13T13:31:40.755" v="3012" actId="20577"/>
          <ac:spMkLst>
            <pc:docMk/>
            <pc:sldMk cId="1464311764" sldId="10266"/>
            <ac:spMk id="8" creationId="{B641FCBC-9EF2-4AD6-AD44-163FDED01C39}"/>
          </ac:spMkLst>
        </pc:spChg>
      </pc:sldChg>
      <pc:sldChg chg="modSp add mod">
        <pc:chgData name="Ajit Kotwal" userId="781b8ab5-6f9a-4511-aed5-b50cf9e67252" providerId="ADAL" clId="{27E91C08-3CA6-4129-AF6E-449EA40E5C4F}" dt="2021-02-13T13:31:56.307" v="3039" actId="20577"/>
        <pc:sldMkLst>
          <pc:docMk/>
          <pc:sldMk cId="2263689843" sldId="10267"/>
        </pc:sldMkLst>
        <pc:spChg chg="mod">
          <ac:chgData name="Ajit Kotwal" userId="781b8ab5-6f9a-4511-aed5-b50cf9e67252" providerId="ADAL" clId="{27E91C08-3CA6-4129-AF6E-449EA40E5C4F}" dt="2021-02-13T13:31:56.307" v="3039" actId="20577"/>
          <ac:spMkLst>
            <pc:docMk/>
            <pc:sldMk cId="2263689843" sldId="10267"/>
            <ac:spMk id="8" creationId="{B641FCBC-9EF2-4AD6-AD44-163FDED01C39}"/>
          </ac:spMkLst>
        </pc:spChg>
      </pc:sldChg>
      <pc:sldChg chg="modSp add mod">
        <pc:chgData name="Ajit Kotwal" userId="781b8ab5-6f9a-4511-aed5-b50cf9e67252" providerId="ADAL" clId="{27E91C08-3CA6-4129-AF6E-449EA40E5C4F}" dt="2021-02-13T13:32:16.049" v="3064" actId="20577"/>
        <pc:sldMkLst>
          <pc:docMk/>
          <pc:sldMk cId="2715589730" sldId="10268"/>
        </pc:sldMkLst>
        <pc:spChg chg="mod">
          <ac:chgData name="Ajit Kotwal" userId="781b8ab5-6f9a-4511-aed5-b50cf9e67252" providerId="ADAL" clId="{27E91C08-3CA6-4129-AF6E-449EA40E5C4F}" dt="2021-02-13T13:32:16.049" v="3064" actId="20577"/>
          <ac:spMkLst>
            <pc:docMk/>
            <pc:sldMk cId="2715589730" sldId="10268"/>
            <ac:spMk id="8" creationId="{B641FCBC-9EF2-4AD6-AD44-163FDED01C39}"/>
          </ac:spMkLst>
        </pc:spChg>
      </pc:sldChg>
      <pc:sldChg chg="modSp add mod">
        <pc:chgData name="Ajit Kotwal" userId="781b8ab5-6f9a-4511-aed5-b50cf9e67252" providerId="ADAL" clId="{27E91C08-3CA6-4129-AF6E-449EA40E5C4F}" dt="2021-02-13T13:32:47.017" v="3088" actId="20577"/>
        <pc:sldMkLst>
          <pc:docMk/>
          <pc:sldMk cId="741988666" sldId="10269"/>
        </pc:sldMkLst>
        <pc:spChg chg="mod">
          <ac:chgData name="Ajit Kotwal" userId="781b8ab5-6f9a-4511-aed5-b50cf9e67252" providerId="ADAL" clId="{27E91C08-3CA6-4129-AF6E-449EA40E5C4F}" dt="2021-02-13T13:32:47.017" v="3088" actId="20577"/>
          <ac:spMkLst>
            <pc:docMk/>
            <pc:sldMk cId="741988666" sldId="10269"/>
            <ac:spMk id="8" creationId="{B641FCBC-9EF2-4AD6-AD44-163FDED01C39}"/>
          </ac:spMkLst>
        </pc:spChg>
      </pc:sldChg>
      <pc:sldChg chg="modSp add mod">
        <pc:chgData name="Ajit Kotwal" userId="781b8ab5-6f9a-4511-aed5-b50cf9e67252" providerId="ADAL" clId="{27E91C08-3CA6-4129-AF6E-449EA40E5C4F}" dt="2021-02-13T13:32:58.830" v="3109" actId="20577"/>
        <pc:sldMkLst>
          <pc:docMk/>
          <pc:sldMk cId="3612003927" sldId="10270"/>
        </pc:sldMkLst>
        <pc:spChg chg="mod">
          <ac:chgData name="Ajit Kotwal" userId="781b8ab5-6f9a-4511-aed5-b50cf9e67252" providerId="ADAL" clId="{27E91C08-3CA6-4129-AF6E-449EA40E5C4F}" dt="2021-02-13T13:32:58.830" v="3109" actId="20577"/>
          <ac:spMkLst>
            <pc:docMk/>
            <pc:sldMk cId="3612003927" sldId="10270"/>
            <ac:spMk id="8" creationId="{B641FCBC-9EF2-4AD6-AD44-163FDED01C39}"/>
          </ac:spMkLst>
        </pc:spChg>
      </pc:sldChg>
      <pc:sldChg chg="modSp add mod">
        <pc:chgData name="Ajit Kotwal" userId="781b8ab5-6f9a-4511-aed5-b50cf9e67252" providerId="ADAL" clId="{27E91C08-3CA6-4129-AF6E-449EA40E5C4F}" dt="2021-02-13T13:33:20.403" v="3147" actId="20577"/>
        <pc:sldMkLst>
          <pc:docMk/>
          <pc:sldMk cId="3124349307" sldId="10271"/>
        </pc:sldMkLst>
        <pc:spChg chg="mod">
          <ac:chgData name="Ajit Kotwal" userId="781b8ab5-6f9a-4511-aed5-b50cf9e67252" providerId="ADAL" clId="{27E91C08-3CA6-4129-AF6E-449EA40E5C4F}" dt="2021-02-13T13:33:20.403" v="3147" actId="20577"/>
          <ac:spMkLst>
            <pc:docMk/>
            <pc:sldMk cId="3124349307" sldId="10271"/>
            <ac:spMk id="8" creationId="{B641FCBC-9EF2-4AD6-AD44-163FDED01C39}"/>
          </ac:spMkLst>
        </pc:spChg>
      </pc:sldChg>
      <pc:sldChg chg="modSp add mod">
        <pc:chgData name="Ajit Kotwal" userId="781b8ab5-6f9a-4511-aed5-b50cf9e67252" providerId="ADAL" clId="{27E91C08-3CA6-4129-AF6E-449EA40E5C4F}" dt="2021-02-13T13:33:49.806" v="3155" actId="20577"/>
        <pc:sldMkLst>
          <pc:docMk/>
          <pc:sldMk cId="2975848837" sldId="10272"/>
        </pc:sldMkLst>
        <pc:spChg chg="mod">
          <ac:chgData name="Ajit Kotwal" userId="781b8ab5-6f9a-4511-aed5-b50cf9e67252" providerId="ADAL" clId="{27E91C08-3CA6-4129-AF6E-449EA40E5C4F}" dt="2021-02-13T13:33:49.806" v="3155" actId="20577"/>
          <ac:spMkLst>
            <pc:docMk/>
            <pc:sldMk cId="2975848837" sldId="10272"/>
            <ac:spMk id="8" creationId="{B641FCBC-9EF2-4AD6-AD44-163FDED01C39}"/>
          </ac:spMkLst>
        </pc:spChg>
      </pc:sldChg>
      <pc:sldChg chg="add del">
        <pc:chgData name="Ajit Kotwal" userId="781b8ab5-6f9a-4511-aed5-b50cf9e67252" providerId="ADAL" clId="{27E91C08-3CA6-4129-AF6E-449EA40E5C4F}" dt="2021-02-13T13:33:31.309" v="3149" actId="47"/>
        <pc:sldMkLst>
          <pc:docMk/>
          <pc:sldMk cId="3416726148" sldId="10272"/>
        </pc:sldMkLst>
      </pc:sldChg>
      <pc:sldChg chg="modSp add mod">
        <pc:chgData name="Ajit Kotwal" userId="781b8ab5-6f9a-4511-aed5-b50cf9e67252" providerId="ADAL" clId="{27E91C08-3CA6-4129-AF6E-449EA40E5C4F}" dt="2021-02-13T13:33:56.496" v="3163" actId="20577"/>
        <pc:sldMkLst>
          <pc:docMk/>
          <pc:sldMk cId="1574071284" sldId="10273"/>
        </pc:sldMkLst>
        <pc:spChg chg="mod">
          <ac:chgData name="Ajit Kotwal" userId="781b8ab5-6f9a-4511-aed5-b50cf9e67252" providerId="ADAL" clId="{27E91C08-3CA6-4129-AF6E-449EA40E5C4F}" dt="2021-02-13T13:33:56.496" v="3163" actId="20577"/>
          <ac:spMkLst>
            <pc:docMk/>
            <pc:sldMk cId="1574071284" sldId="10273"/>
            <ac:spMk id="8" creationId="{B641FCBC-9EF2-4AD6-AD44-163FDED01C39}"/>
          </ac:spMkLst>
        </pc:spChg>
      </pc:sldChg>
      <pc:sldChg chg="add ord">
        <pc:chgData name="Ajit Kotwal" userId="781b8ab5-6f9a-4511-aed5-b50cf9e67252" providerId="ADAL" clId="{27E91C08-3CA6-4129-AF6E-449EA40E5C4F}" dt="2021-02-13T13:45:04.607" v="3251"/>
        <pc:sldMkLst>
          <pc:docMk/>
          <pc:sldMk cId="2263370975" sldId="10274"/>
        </pc:sldMkLst>
      </pc:sldChg>
      <pc:sldChg chg="modSp add mod">
        <pc:chgData name="Ajit Kotwal" userId="781b8ab5-6f9a-4511-aed5-b50cf9e67252" providerId="ADAL" clId="{27E91C08-3CA6-4129-AF6E-449EA40E5C4F}" dt="2021-02-13T15:00:15.744" v="4705" actId="20577"/>
        <pc:sldMkLst>
          <pc:docMk/>
          <pc:sldMk cId="1648800858" sldId="10275"/>
        </pc:sldMkLst>
        <pc:spChg chg="mod">
          <ac:chgData name="Ajit Kotwal" userId="781b8ab5-6f9a-4511-aed5-b50cf9e67252" providerId="ADAL" clId="{27E91C08-3CA6-4129-AF6E-449EA40E5C4F}" dt="2021-02-13T13:59:58.799" v="3309" actId="20577"/>
          <ac:spMkLst>
            <pc:docMk/>
            <pc:sldMk cId="1648800858" sldId="10275"/>
            <ac:spMk id="2" creationId="{11981002-9C29-43DD-9EFC-331DD8486892}"/>
          </ac:spMkLst>
        </pc:spChg>
        <pc:graphicFrameChg chg="mod">
          <ac:chgData name="Ajit Kotwal" userId="781b8ab5-6f9a-4511-aed5-b50cf9e67252" providerId="ADAL" clId="{27E91C08-3CA6-4129-AF6E-449EA40E5C4F}" dt="2021-02-13T15:00:15.744" v="4705" actId="20577"/>
          <ac:graphicFrameMkLst>
            <pc:docMk/>
            <pc:sldMk cId="1648800858" sldId="10275"/>
            <ac:graphicFrameMk id="8" creationId="{9C3FA538-2EEB-4441-958F-8EEC1522DF33}"/>
          </ac:graphicFrameMkLst>
        </pc:graphicFrameChg>
        <pc:graphicFrameChg chg="mod">
          <ac:chgData name="Ajit Kotwal" userId="781b8ab5-6f9a-4511-aed5-b50cf9e67252" providerId="ADAL" clId="{27E91C08-3CA6-4129-AF6E-449EA40E5C4F}" dt="2021-02-13T14:59:12.355" v="4704" actId="20577"/>
          <ac:graphicFrameMkLst>
            <pc:docMk/>
            <pc:sldMk cId="1648800858" sldId="10275"/>
            <ac:graphicFrameMk id="12" creationId="{0BA42EE4-2131-467C-8AC6-CFACB976FC9C}"/>
          </ac:graphicFrameMkLst>
        </pc:graphicFrameChg>
      </pc:sldChg>
      <pc:sldChg chg="modSp add mod">
        <pc:chgData name="Ajit Kotwal" userId="781b8ab5-6f9a-4511-aed5-b50cf9e67252" providerId="ADAL" clId="{27E91C08-3CA6-4129-AF6E-449EA40E5C4F}" dt="2021-02-13T15:05:13.939" v="4772" actId="20577"/>
        <pc:sldMkLst>
          <pc:docMk/>
          <pc:sldMk cId="2466818646" sldId="10276"/>
        </pc:sldMkLst>
        <pc:spChg chg="mod">
          <ac:chgData name="Ajit Kotwal" userId="781b8ab5-6f9a-4511-aed5-b50cf9e67252" providerId="ADAL" clId="{27E91C08-3CA6-4129-AF6E-449EA40E5C4F}" dt="2021-02-13T15:04:02.355" v="4725" actId="20577"/>
          <ac:spMkLst>
            <pc:docMk/>
            <pc:sldMk cId="2466818646" sldId="10276"/>
            <ac:spMk id="2" creationId="{45010FE8-BF09-4146-B084-66CB05B66FD9}"/>
          </ac:spMkLst>
        </pc:spChg>
        <pc:spChg chg="mod">
          <ac:chgData name="Ajit Kotwal" userId="781b8ab5-6f9a-4511-aed5-b50cf9e67252" providerId="ADAL" clId="{27E91C08-3CA6-4129-AF6E-449EA40E5C4F}" dt="2021-02-13T15:04:11.437" v="4744" actId="20577"/>
          <ac:spMkLst>
            <pc:docMk/>
            <pc:sldMk cId="2466818646" sldId="10276"/>
            <ac:spMk id="11" creationId="{76583F2C-13BC-4FA8-A9DE-F1F764C38F10}"/>
          </ac:spMkLst>
        </pc:spChg>
        <pc:spChg chg="mod">
          <ac:chgData name="Ajit Kotwal" userId="781b8ab5-6f9a-4511-aed5-b50cf9e67252" providerId="ADAL" clId="{27E91C08-3CA6-4129-AF6E-449EA40E5C4F}" dt="2021-02-13T15:05:13.939" v="4772" actId="20577"/>
          <ac:spMkLst>
            <pc:docMk/>
            <pc:sldMk cId="2466818646" sldId="10276"/>
            <ac:spMk id="15" creationId="{BDD64BFD-7ED9-4476-ABC3-6BBAC4A275B2}"/>
          </ac:spMkLst>
        </pc:spChg>
      </pc:sldChg>
      <pc:sldChg chg="modSp add mod">
        <pc:chgData name="Ajit Kotwal" userId="781b8ab5-6f9a-4511-aed5-b50cf9e67252" providerId="ADAL" clId="{27E91C08-3CA6-4129-AF6E-449EA40E5C4F}" dt="2021-02-13T15:07:39.642" v="4805" actId="20577"/>
        <pc:sldMkLst>
          <pc:docMk/>
          <pc:sldMk cId="397174415" sldId="10277"/>
        </pc:sldMkLst>
        <pc:spChg chg="mod">
          <ac:chgData name="Ajit Kotwal" userId="781b8ab5-6f9a-4511-aed5-b50cf9e67252" providerId="ADAL" clId="{27E91C08-3CA6-4129-AF6E-449EA40E5C4F}" dt="2021-02-13T15:06:18.529" v="4788" actId="20577"/>
          <ac:spMkLst>
            <pc:docMk/>
            <pc:sldMk cId="397174415" sldId="10277"/>
            <ac:spMk id="2" creationId="{45010FE8-BF09-4146-B084-66CB05B66FD9}"/>
          </ac:spMkLst>
        </pc:spChg>
        <pc:spChg chg="mod">
          <ac:chgData name="Ajit Kotwal" userId="781b8ab5-6f9a-4511-aed5-b50cf9e67252" providerId="ADAL" clId="{27E91C08-3CA6-4129-AF6E-449EA40E5C4F}" dt="2021-02-13T15:06:27.315" v="4799" actId="20577"/>
          <ac:spMkLst>
            <pc:docMk/>
            <pc:sldMk cId="397174415" sldId="10277"/>
            <ac:spMk id="11" creationId="{76583F2C-13BC-4FA8-A9DE-F1F764C38F10}"/>
          </ac:spMkLst>
        </pc:spChg>
        <pc:spChg chg="mod">
          <ac:chgData name="Ajit Kotwal" userId="781b8ab5-6f9a-4511-aed5-b50cf9e67252" providerId="ADAL" clId="{27E91C08-3CA6-4129-AF6E-449EA40E5C4F}" dt="2021-02-13T15:07:39.642" v="4805" actId="20577"/>
          <ac:spMkLst>
            <pc:docMk/>
            <pc:sldMk cId="397174415" sldId="10277"/>
            <ac:spMk id="15" creationId="{BDD64BFD-7ED9-4476-ABC3-6BBAC4A275B2}"/>
          </ac:spMkLst>
        </pc:spChg>
      </pc:sldChg>
      <pc:sldChg chg="modSp add mod">
        <pc:chgData name="Ajit Kotwal" userId="781b8ab5-6f9a-4511-aed5-b50cf9e67252" providerId="ADAL" clId="{27E91C08-3CA6-4129-AF6E-449EA40E5C4F}" dt="2021-02-15T08:36:12.245" v="9437" actId="20577"/>
        <pc:sldMkLst>
          <pc:docMk/>
          <pc:sldMk cId="2239434521" sldId="10278"/>
        </pc:sldMkLst>
        <pc:spChg chg="mod">
          <ac:chgData name="Ajit Kotwal" userId="781b8ab5-6f9a-4511-aed5-b50cf9e67252" providerId="ADAL" clId="{27E91C08-3CA6-4129-AF6E-449EA40E5C4F}" dt="2021-02-13T15:08:10.614" v="4823" actId="20577"/>
          <ac:spMkLst>
            <pc:docMk/>
            <pc:sldMk cId="2239434521" sldId="10278"/>
            <ac:spMk id="2" creationId="{45010FE8-BF09-4146-B084-66CB05B66FD9}"/>
          </ac:spMkLst>
        </pc:spChg>
        <pc:spChg chg="mod">
          <ac:chgData name="Ajit Kotwal" userId="781b8ab5-6f9a-4511-aed5-b50cf9e67252" providerId="ADAL" clId="{27E91C08-3CA6-4129-AF6E-449EA40E5C4F}" dt="2021-02-15T08:36:12.245" v="9437" actId="20577"/>
          <ac:spMkLst>
            <pc:docMk/>
            <pc:sldMk cId="2239434521" sldId="10278"/>
            <ac:spMk id="11" creationId="{76583F2C-13BC-4FA8-A9DE-F1F764C38F10}"/>
          </ac:spMkLst>
        </pc:spChg>
        <pc:spChg chg="mod">
          <ac:chgData name="Ajit Kotwal" userId="781b8ab5-6f9a-4511-aed5-b50cf9e67252" providerId="ADAL" clId="{27E91C08-3CA6-4129-AF6E-449EA40E5C4F}" dt="2021-02-13T15:08:26.731" v="4839" actId="20577"/>
          <ac:spMkLst>
            <pc:docMk/>
            <pc:sldMk cId="2239434521" sldId="10278"/>
            <ac:spMk id="15" creationId="{BDD64BFD-7ED9-4476-ABC3-6BBAC4A275B2}"/>
          </ac:spMkLst>
        </pc:spChg>
      </pc:sldChg>
      <pc:sldChg chg="modSp add mod">
        <pc:chgData name="Ajit Kotwal" userId="781b8ab5-6f9a-4511-aed5-b50cf9e67252" providerId="ADAL" clId="{27E91C08-3CA6-4129-AF6E-449EA40E5C4F}" dt="2021-02-13T15:09:22.454" v="4862" actId="20577"/>
        <pc:sldMkLst>
          <pc:docMk/>
          <pc:sldMk cId="1161685352" sldId="10279"/>
        </pc:sldMkLst>
        <pc:spChg chg="mod">
          <ac:chgData name="Ajit Kotwal" userId="781b8ab5-6f9a-4511-aed5-b50cf9e67252" providerId="ADAL" clId="{27E91C08-3CA6-4129-AF6E-449EA40E5C4F}" dt="2021-02-13T15:09:07.695" v="4851" actId="20577"/>
          <ac:spMkLst>
            <pc:docMk/>
            <pc:sldMk cId="1161685352" sldId="10279"/>
            <ac:spMk id="2" creationId="{45010FE8-BF09-4146-B084-66CB05B66FD9}"/>
          </ac:spMkLst>
        </pc:spChg>
        <pc:spChg chg="mod">
          <ac:chgData name="Ajit Kotwal" userId="781b8ab5-6f9a-4511-aed5-b50cf9e67252" providerId="ADAL" clId="{27E91C08-3CA6-4129-AF6E-449EA40E5C4F}" dt="2021-02-13T15:09:14.452" v="4861" actId="20577"/>
          <ac:spMkLst>
            <pc:docMk/>
            <pc:sldMk cId="1161685352" sldId="10279"/>
            <ac:spMk id="11" creationId="{76583F2C-13BC-4FA8-A9DE-F1F764C38F10}"/>
          </ac:spMkLst>
        </pc:spChg>
        <pc:spChg chg="mod">
          <ac:chgData name="Ajit Kotwal" userId="781b8ab5-6f9a-4511-aed5-b50cf9e67252" providerId="ADAL" clId="{27E91C08-3CA6-4129-AF6E-449EA40E5C4F}" dt="2021-02-13T15:09:22.454" v="4862" actId="20577"/>
          <ac:spMkLst>
            <pc:docMk/>
            <pc:sldMk cId="1161685352" sldId="10279"/>
            <ac:spMk id="15" creationId="{BDD64BFD-7ED9-4476-ABC3-6BBAC4A275B2}"/>
          </ac:spMkLst>
        </pc:spChg>
      </pc:sldChg>
      <pc:sldChg chg="modSp add mod">
        <pc:chgData name="Ajit Kotwal" userId="781b8ab5-6f9a-4511-aed5-b50cf9e67252" providerId="ADAL" clId="{27E91C08-3CA6-4129-AF6E-449EA40E5C4F}" dt="2021-02-13T15:22:59.657" v="4945" actId="20577"/>
        <pc:sldMkLst>
          <pc:docMk/>
          <pc:sldMk cId="916965836" sldId="10280"/>
        </pc:sldMkLst>
        <pc:spChg chg="mod">
          <ac:chgData name="Ajit Kotwal" userId="781b8ab5-6f9a-4511-aed5-b50cf9e67252" providerId="ADAL" clId="{27E91C08-3CA6-4129-AF6E-449EA40E5C4F}" dt="2021-02-13T15:09:41.019" v="4875" actId="20577"/>
          <ac:spMkLst>
            <pc:docMk/>
            <pc:sldMk cId="916965836" sldId="10280"/>
            <ac:spMk id="2" creationId="{45010FE8-BF09-4146-B084-66CB05B66FD9}"/>
          </ac:spMkLst>
        </pc:spChg>
        <pc:spChg chg="mod">
          <ac:chgData name="Ajit Kotwal" userId="781b8ab5-6f9a-4511-aed5-b50cf9e67252" providerId="ADAL" clId="{27E91C08-3CA6-4129-AF6E-449EA40E5C4F}" dt="2021-02-13T15:09:48.278" v="4887" actId="20577"/>
          <ac:spMkLst>
            <pc:docMk/>
            <pc:sldMk cId="916965836" sldId="10280"/>
            <ac:spMk id="11" creationId="{76583F2C-13BC-4FA8-A9DE-F1F764C38F10}"/>
          </ac:spMkLst>
        </pc:spChg>
        <pc:spChg chg="mod">
          <ac:chgData name="Ajit Kotwal" userId="781b8ab5-6f9a-4511-aed5-b50cf9e67252" providerId="ADAL" clId="{27E91C08-3CA6-4129-AF6E-449EA40E5C4F}" dt="2021-02-13T15:22:59.657" v="4945" actId="20577"/>
          <ac:spMkLst>
            <pc:docMk/>
            <pc:sldMk cId="916965836" sldId="10280"/>
            <ac:spMk id="15" creationId="{BDD64BFD-7ED9-4476-ABC3-6BBAC4A275B2}"/>
          </ac:spMkLst>
        </pc:spChg>
      </pc:sldChg>
      <pc:sldChg chg="modSp add mod">
        <pc:chgData name="Ajit Kotwal" userId="781b8ab5-6f9a-4511-aed5-b50cf9e67252" providerId="ADAL" clId="{27E91C08-3CA6-4129-AF6E-449EA40E5C4F}" dt="2021-02-13T15:11:44.202" v="4922" actId="20577"/>
        <pc:sldMkLst>
          <pc:docMk/>
          <pc:sldMk cId="3346154788" sldId="10281"/>
        </pc:sldMkLst>
        <pc:spChg chg="mod">
          <ac:chgData name="Ajit Kotwal" userId="781b8ab5-6f9a-4511-aed5-b50cf9e67252" providerId="ADAL" clId="{27E91C08-3CA6-4129-AF6E-449EA40E5C4F}" dt="2021-02-13T15:11:26.165" v="4917" actId="20577"/>
          <ac:spMkLst>
            <pc:docMk/>
            <pc:sldMk cId="3346154788" sldId="10281"/>
            <ac:spMk id="2" creationId="{45010FE8-BF09-4146-B084-66CB05B66FD9}"/>
          </ac:spMkLst>
        </pc:spChg>
        <pc:spChg chg="mod">
          <ac:chgData name="Ajit Kotwal" userId="781b8ab5-6f9a-4511-aed5-b50cf9e67252" providerId="ADAL" clId="{27E91C08-3CA6-4129-AF6E-449EA40E5C4F}" dt="2021-02-13T15:11:44.202" v="4922" actId="20577"/>
          <ac:spMkLst>
            <pc:docMk/>
            <pc:sldMk cId="3346154788" sldId="10281"/>
            <ac:spMk id="11" creationId="{76583F2C-13BC-4FA8-A9DE-F1F764C38F10}"/>
          </ac:spMkLst>
        </pc:spChg>
        <pc:spChg chg="mod">
          <ac:chgData name="Ajit Kotwal" userId="781b8ab5-6f9a-4511-aed5-b50cf9e67252" providerId="ADAL" clId="{27E91C08-3CA6-4129-AF6E-449EA40E5C4F}" dt="2021-02-13T15:11:34.850" v="4918" actId="20577"/>
          <ac:spMkLst>
            <pc:docMk/>
            <pc:sldMk cId="3346154788" sldId="10281"/>
            <ac:spMk id="15" creationId="{BDD64BFD-7ED9-4476-ABC3-6BBAC4A275B2}"/>
          </ac:spMkLst>
        </pc:spChg>
      </pc:sldChg>
      <pc:sldChg chg="modSp add mod">
        <pc:chgData name="Ajit Kotwal" userId="781b8ab5-6f9a-4511-aed5-b50cf9e67252" providerId="ADAL" clId="{27E91C08-3CA6-4129-AF6E-449EA40E5C4F}" dt="2021-02-13T15:12:19.965" v="4943" actId="20577"/>
        <pc:sldMkLst>
          <pc:docMk/>
          <pc:sldMk cId="2981688304" sldId="10282"/>
        </pc:sldMkLst>
        <pc:spChg chg="mod">
          <ac:chgData name="Ajit Kotwal" userId="781b8ab5-6f9a-4511-aed5-b50cf9e67252" providerId="ADAL" clId="{27E91C08-3CA6-4129-AF6E-449EA40E5C4F}" dt="2021-02-13T15:12:02.411" v="4932" actId="20577"/>
          <ac:spMkLst>
            <pc:docMk/>
            <pc:sldMk cId="2981688304" sldId="10282"/>
            <ac:spMk id="2" creationId="{45010FE8-BF09-4146-B084-66CB05B66FD9}"/>
          </ac:spMkLst>
        </pc:spChg>
        <pc:spChg chg="mod">
          <ac:chgData name="Ajit Kotwal" userId="781b8ab5-6f9a-4511-aed5-b50cf9e67252" providerId="ADAL" clId="{27E91C08-3CA6-4129-AF6E-449EA40E5C4F}" dt="2021-02-13T15:12:09.518" v="4941" actId="20577"/>
          <ac:spMkLst>
            <pc:docMk/>
            <pc:sldMk cId="2981688304" sldId="10282"/>
            <ac:spMk id="11" creationId="{76583F2C-13BC-4FA8-A9DE-F1F764C38F10}"/>
          </ac:spMkLst>
        </pc:spChg>
        <pc:spChg chg="mod">
          <ac:chgData name="Ajit Kotwal" userId="781b8ab5-6f9a-4511-aed5-b50cf9e67252" providerId="ADAL" clId="{27E91C08-3CA6-4129-AF6E-449EA40E5C4F}" dt="2021-02-13T15:12:19.965" v="4943" actId="20577"/>
          <ac:spMkLst>
            <pc:docMk/>
            <pc:sldMk cId="2981688304" sldId="10282"/>
            <ac:spMk id="15" creationId="{BDD64BFD-7ED9-4476-ABC3-6BBAC4A275B2}"/>
          </ac:spMkLst>
        </pc:spChg>
      </pc:sldChg>
      <pc:sldChg chg="addSp modSp add mod">
        <pc:chgData name="Ajit Kotwal" userId="781b8ab5-6f9a-4511-aed5-b50cf9e67252" providerId="ADAL" clId="{27E91C08-3CA6-4129-AF6E-449EA40E5C4F}" dt="2021-02-15T08:40:12.667" v="9473" actId="1076"/>
        <pc:sldMkLst>
          <pc:docMk/>
          <pc:sldMk cId="371622776" sldId="10283"/>
        </pc:sldMkLst>
        <pc:spChg chg="mod">
          <ac:chgData name="Ajit Kotwal" userId="781b8ab5-6f9a-4511-aed5-b50cf9e67252" providerId="ADAL" clId="{27E91C08-3CA6-4129-AF6E-449EA40E5C4F}" dt="2021-02-13T15:46:55.159" v="4957" actId="20577"/>
          <ac:spMkLst>
            <pc:docMk/>
            <pc:sldMk cId="371622776" sldId="10283"/>
            <ac:spMk id="2" creationId="{11981002-9C29-43DD-9EFC-331DD8486892}"/>
          </ac:spMkLst>
        </pc:spChg>
        <pc:spChg chg="add mod">
          <ac:chgData name="Ajit Kotwal" userId="781b8ab5-6f9a-4511-aed5-b50cf9e67252" providerId="ADAL" clId="{27E91C08-3CA6-4129-AF6E-449EA40E5C4F}" dt="2021-02-15T08:40:12.667" v="9473" actId="1076"/>
          <ac:spMkLst>
            <pc:docMk/>
            <pc:sldMk cId="371622776" sldId="10283"/>
            <ac:spMk id="3" creationId="{620EA2DE-E1D7-4D44-8893-F7727651E1E2}"/>
          </ac:spMkLst>
        </pc:spChg>
        <pc:graphicFrameChg chg="mod">
          <ac:chgData name="Ajit Kotwal" userId="781b8ab5-6f9a-4511-aed5-b50cf9e67252" providerId="ADAL" clId="{27E91C08-3CA6-4129-AF6E-449EA40E5C4F}" dt="2021-02-13T16:06:09.304" v="5983" actId="20577"/>
          <ac:graphicFrameMkLst>
            <pc:docMk/>
            <pc:sldMk cId="371622776" sldId="10283"/>
            <ac:graphicFrameMk id="8" creationId="{9C3FA538-2EEB-4441-958F-8EEC1522DF33}"/>
          </ac:graphicFrameMkLst>
        </pc:graphicFrameChg>
        <pc:graphicFrameChg chg="mod">
          <ac:chgData name="Ajit Kotwal" userId="781b8ab5-6f9a-4511-aed5-b50cf9e67252" providerId="ADAL" clId="{27E91C08-3CA6-4129-AF6E-449EA40E5C4F}" dt="2021-02-15T08:39:11.406" v="9440" actId="20577"/>
          <ac:graphicFrameMkLst>
            <pc:docMk/>
            <pc:sldMk cId="371622776" sldId="10283"/>
            <ac:graphicFrameMk id="12" creationId="{0BA42EE4-2131-467C-8AC6-CFACB976FC9C}"/>
          </ac:graphicFrameMkLst>
        </pc:graphicFrameChg>
      </pc:sldChg>
      <pc:sldChg chg="addSp modSp add mod modCm">
        <pc:chgData name="Ajit Kotwal" userId="781b8ab5-6f9a-4511-aed5-b50cf9e67252" providerId="ADAL" clId="{27E91C08-3CA6-4129-AF6E-449EA40E5C4F}" dt="2021-02-15T09:56:07.726" v="9492"/>
        <pc:sldMkLst>
          <pc:docMk/>
          <pc:sldMk cId="503916700" sldId="10284"/>
        </pc:sldMkLst>
        <pc:spChg chg="mod">
          <ac:chgData name="Ajit Kotwal" userId="781b8ab5-6f9a-4511-aed5-b50cf9e67252" providerId="ADAL" clId="{27E91C08-3CA6-4129-AF6E-449EA40E5C4F}" dt="2021-02-13T16:11:59.733" v="6245" actId="20577"/>
          <ac:spMkLst>
            <pc:docMk/>
            <pc:sldMk cId="503916700" sldId="10284"/>
            <ac:spMk id="2" creationId="{11981002-9C29-43DD-9EFC-331DD8486892}"/>
          </ac:spMkLst>
        </pc:spChg>
        <pc:spChg chg="add mod">
          <ac:chgData name="Ajit Kotwal" userId="781b8ab5-6f9a-4511-aed5-b50cf9e67252" providerId="ADAL" clId="{27E91C08-3CA6-4129-AF6E-449EA40E5C4F}" dt="2021-02-15T08:40:55.348" v="9487" actId="20577"/>
          <ac:spMkLst>
            <pc:docMk/>
            <pc:sldMk cId="503916700" sldId="10284"/>
            <ac:spMk id="3" creationId="{DA94628A-BB50-4D6E-9E51-5181208D8FFD}"/>
          </ac:spMkLst>
        </pc:spChg>
        <pc:graphicFrameChg chg="mod">
          <ac:chgData name="Ajit Kotwal" userId="781b8ab5-6f9a-4511-aed5-b50cf9e67252" providerId="ADAL" clId="{27E91C08-3CA6-4129-AF6E-449EA40E5C4F}" dt="2021-02-14T09:54:10.272" v="7252" actId="20577"/>
          <ac:graphicFrameMkLst>
            <pc:docMk/>
            <pc:sldMk cId="503916700" sldId="10284"/>
            <ac:graphicFrameMk id="8" creationId="{9C3FA538-2EEB-4441-958F-8EEC1522DF33}"/>
          </ac:graphicFrameMkLst>
        </pc:graphicFrameChg>
        <pc:graphicFrameChg chg="mod">
          <ac:chgData name="Ajit Kotwal" userId="781b8ab5-6f9a-4511-aed5-b50cf9e67252" providerId="ADAL" clId="{27E91C08-3CA6-4129-AF6E-449EA40E5C4F}" dt="2021-02-15T09:56:00.297" v="9491" actId="20577"/>
          <ac:graphicFrameMkLst>
            <pc:docMk/>
            <pc:sldMk cId="503916700" sldId="10284"/>
            <ac:graphicFrameMk id="12" creationId="{0BA42EE4-2131-467C-8AC6-CFACB976FC9C}"/>
          </ac:graphicFrameMkLst>
        </pc:graphicFrameChg>
      </pc:sldChg>
      <pc:sldChg chg="modSp add mod">
        <pc:chgData name="Ajit Kotwal" userId="781b8ab5-6f9a-4511-aed5-b50cf9e67252" providerId="ADAL" clId="{27E91C08-3CA6-4129-AF6E-449EA40E5C4F}" dt="2021-02-14T11:09:12.434" v="8391" actId="20577"/>
        <pc:sldMkLst>
          <pc:docMk/>
          <pc:sldMk cId="2606447300" sldId="10285"/>
        </pc:sldMkLst>
        <pc:spChg chg="mod">
          <ac:chgData name="Ajit Kotwal" userId="781b8ab5-6f9a-4511-aed5-b50cf9e67252" providerId="ADAL" clId="{27E91C08-3CA6-4129-AF6E-449EA40E5C4F}" dt="2021-02-14T10:17:08.159" v="7935" actId="20577"/>
          <ac:spMkLst>
            <pc:docMk/>
            <pc:sldMk cId="2606447300" sldId="10285"/>
            <ac:spMk id="2" creationId="{11981002-9C29-43DD-9EFC-331DD8486892}"/>
          </ac:spMkLst>
        </pc:spChg>
        <pc:graphicFrameChg chg="mod">
          <ac:chgData name="Ajit Kotwal" userId="781b8ab5-6f9a-4511-aed5-b50cf9e67252" providerId="ADAL" clId="{27E91C08-3CA6-4129-AF6E-449EA40E5C4F}" dt="2021-02-14T10:55:00.987" v="8247" actId="20577"/>
          <ac:graphicFrameMkLst>
            <pc:docMk/>
            <pc:sldMk cId="2606447300" sldId="10285"/>
            <ac:graphicFrameMk id="8" creationId="{9C3FA538-2EEB-4441-958F-8EEC1522DF33}"/>
          </ac:graphicFrameMkLst>
        </pc:graphicFrameChg>
        <pc:graphicFrameChg chg="mod">
          <ac:chgData name="Ajit Kotwal" userId="781b8ab5-6f9a-4511-aed5-b50cf9e67252" providerId="ADAL" clId="{27E91C08-3CA6-4129-AF6E-449EA40E5C4F}" dt="2021-02-14T11:09:12.434" v="8391" actId="20577"/>
          <ac:graphicFrameMkLst>
            <pc:docMk/>
            <pc:sldMk cId="2606447300" sldId="10285"/>
            <ac:graphicFrameMk id="12" creationId="{0BA42EE4-2131-467C-8AC6-CFACB976FC9C}"/>
          </ac:graphicFrameMkLst>
        </pc:graphicFrameChg>
      </pc:sldChg>
      <pc:sldChg chg="modSp add mod">
        <pc:chgData name="Ajit Kotwal" userId="781b8ab5-6f9a-4511-aed5-b50cf9e67252" providerId="ADAL" clId="{27E91C08-3CA6-4129-AF6E-449EA40E5C4F}" dt="2021-02-14T18:51:13.071" v="9436" actId="20577"/>
        <pc:sldMkLst>
          <pc:docMk/>
          <pc:sldMk cId="3619002474" sldId="10286"/>
        </pc:sldMkLst>
        <pc:spChg chg="mod">
          <ac:chgData name="Ajit Kotwal" userId="781b8ab5-6f9a-4511-aed5-b50cf9e67252" providerId="ADAL" clId="{27E91C08-3CA6-4129-AF6E-449EA40E5C4F}" dt="2021-02-14T18:39:30.110" v="8533" actId="20577"/>
          <ac:spMkLst>
            <pc:docMk/>
            <pc:sldMk cId="3619002474" sldId="10286"/>
            <ac:spMk id="2" creationId="{11981002-9C29-43DD-9EFC-331DD8486892}"/>
          </ac:spMkLst>
        </pc:spChg>
        <pc:graphicFrameChg chg="mod">
          <ac:chgData name="Ajit Kotwal" userId="781b8ab5-6f9a-4511-aed5-b50cf9e67252" providerId="ADAL" clId="{27E91C08-3CA6-4129-AF6E-449EA40E5C4F}" dt="2021-02-14T18:49:40.133" v="9357" actId="20577"/>
          <ac:graphicFrameMkLst>
            <pc:docMk/>
            <pc:sldMk cId="3619002474" sldId="10286"/>
            <ac:graphicFrameMk id="8" creationId="{9C3FA538-2EEB-4441-958F-8EEC1522DF33}"/>
          </ac:graphicFrameMkLst>
        </pc:graphicFrameChg>
        <pc:graphicFrameChg chg="mod">
          <ac:chgData name="Ajit Kotwal" userId="781b8ab5-6f9a-4511-aed5-b50cf9e67252" providerId="ADAL" clId="{27E91C08-3CA6-4129-AF6E-449EA40E5C4F}" dt="2021-02-14T18:51:13.071" v="9436" actId="20577"/>
          <ac:graphicFrameMkLst>
            <pc:docMk/>
            <pc:sldMk cId="3619002474" sldId="10286"/>
            <ac:graphicFrameMk id="12" creationId="{0BA42EE4-2131-467C-8AC6-CFACB976FC9C}"/>
          </ac:graphicFrameMkLst>
        </pc:graphicFrameChg>
      </pc:sldChg>
    </pc:docChg>
  </pc:docChgLst>
  <pc:docChgLst>
    <pc:chgData name="Ajit Kotwal" userId="S::ajkotwal@microsoft.com::781b8ab5-6f9a-4511-aed5-b50cf9e67252" providerId="AD" clId="Web-{8C6BD33A-074B-4BD2-839C-21A372737924}"/>
    <pc:docChg chg="modSld">
      <pc:chgData name="Ajit Kotwal" userId="S::ajkotwal@microsoft.com::781b8ab5-6f9a-4511-aed5-b50cf9e67252" providerId="AD" clId="Web-{8C6BD33A-074B-4BD2-839C-21A372737924}" dt="2021-02-14T18:25:07.157" v="29" actId="20577"/>
      <pc:docMkLst>
        <pc:docMk/>
      </pc:docMkLst>
      <pc:sldChg chg="modSp">
        <pc:chgData name="Ajit Kotwal" userId="S::ajkotwal@microsoft.com::781b8ab5-6f9a-4511-aed5-b50cf9e67252" providerId="AD" clId="Web-{8C6BD33A-074B-4BD2-839C-21A372737924}" dt="2021-02-14T18:25:07.157" v="29" actId="20577"/>
        <pc:sldMkLst>
          <pc:docMk/>
          <pc:sldMk cId="1247591511" sldId="10243"/>
        </pc:sldMkLst>
        <pc:spChg chg="mod">
          <ac:chgData name="Ajit Kotwal" userId="S::ajkotwal@microsoft.com::781b8ab5-6f9a-4511-aed5-b50cf9e67252" providerId="AD" clId="Web-{8C6BD33A-074B-4BD2-839C-21A372737924}" dt="2021-02-14T18:25:07.157" v="29" actId="20577"/>
          <ac:spMkLst>
            <pc:docMk/>
            <pc:sldMk cId="1247591511" sldId="10243"/>
            <ac:spMk id="15" creationId="{BDD64BFD-7ED9-4476-ABC3-6BBAC4A275B2}"/>
          </ac:spMkLst>
        </pc:spChg>
      </pc:sldChg>
    </pc:docChg>
  </pc:docChgLst>
  <pc:docChgLst>
    <pc:chgData name="Ajit Kotwal" userId="S::ajkotwal@microsoft.com::781b8ab5-6f9a-4511-aed5-b50cf9e67252" providerId="AD" clId="Web-{2BD63F91-0FD0-4B47-A562-A1AB84655481}"/>
    <pc:docChg chg="mod">
      <pc:chgData name="Ajit Kotwal" userId="S::ajkotwal@microsoft.com::781b8ab5-6f9a-4511-aed5-b50cf9e67252" providerId="AD" clId="Web-{2BD63F91-0FD0-4B47-A562-A1AB84655481}" dt="2021-02-08T15:49:34.281" v="2"/>
      <pc:docMkLst>
        <pc:docMk/>
      </pc:docMkLst>
      <pc:sldChg chg="modCm">
        <pc:chgData name="Ajit Kotwal" userId="S::ajkotwal@microsoft.com::781b8ab5-6f9a-4511-aed5-b50cf9e67252" providerId="AD" clId="Web-{2BD63F91-0FD0-4B47-A562-A1AB84655481}" dt="2021-02-08T15:49:34.281" v="2"/>
        <pc:sldMkLst>
          <pc:docMk/>
          <pc:sldMk cId="1094870920" sldId="1735"/>
        </pc:sldMkLst>
      </pc:sldChg>
    </pc:docChg>
  </pc:docChgLst>
  <pc:docChgLst>
    <pc:chgData name="Kuntal Ghoshal" userId="S::kughosha@microsoft.com::9365114f-3662-492a-8f44-5af3c15a2194" providerId="AD" clId="Web-{05966ADD-691D-8683-DAF2-D15446A2B1FF}"/>
    <pc:docChg chg="mod modSld">
      <pc:chgData name="Kuntal Ghoshal" userId="S::kughosha@microsoft.com::9365114f-3662-492a-8f44-5af3c15a2194" providerId="AD" clId="Web-{05966ADD-691D-8683-DAF2-D15446A2B1FF}" dt="2021-02-08T06:32:26.250" v="11"/>
      <pc:docMkLst>
        <pc:docMk/>
      </pc:docMkLst>
      <pc:sldChg chg="modSp addCm">
        <pc:chgData name="Kuntal Ghoshal" userId="S::kughosha@microsoft.com::9365114f-3662-492a-8f44-5af3c15a2194" providerId="AD" clId="Web-{05966ADD-691D-8683-DAF2-D15446A2B1FF}" dt="2021-02-08T06:09:07.580" v="4"/>
        <pc:sldMkLst>
          <pc:docMk/>
          <pc:sldMk cId="1094870920" sldId="1735"/>
        </pc:sldMkLst>
        <pc:cxnChg chg="mod">
          <ac:chgData name="Kuntal Ghoshal" userId="S::kughosha@microsoft.com::9365114f-3662-492a-8f44-5af3c15a2194" providerId="AD" clId="Web-{05966ADD-691D-8683-DAF2-D15446A2B1FF}" dt="2021-02-08T06:07:57.233" v="1" actId="1076"/>
          <ac:cxnSpMkLst>
            <pc:docMk/>
            <pc:sldMk cId="1094870920" sldId="1735"/>
            <ac:cxnSpMk id="49" creationId="{F03F52E1-9D12-4CD8-9AFB-DF3694F8E8DF}"/>
          </ac:cxnSpMkLst>
        </pc:cxnChg>
      </pc:sldChg>
      <pc:sldChg chg="modCm">
        <pc:chgData name="Kuntal Ghoshal" userId="S::kughosha@microsoft.com::9365114f-3662-492a-8f44-5af3c15a2194" providerId="AD" clId="Web-{05966ADD-691D-8683-DAF2-D15446A2B1FF}" dt="2021-02-08T06:28:20.613" v="9"/>
        <pc:sldMkLst>
          <pc:docMk/>
          <pc:sldMk cId="2694433332" sldId="10224"/>
        </pc:sldMkLst>
      </pc:sldChg>
      <pc:sldChg chg="modCm">
        <pc:chgData name="Kuntal Ghoshal" userId="S::kughosha@microsoft.com::9365114f-3662-492a-8f44-5af3c15a2194" providerId="AD" clId="Web-{05966ADD-691D-8683-DAF2-D15446A2B1FF}" dt="2021-02-08T06:24:04.803" v="8"/>
        <pc:sldMkLst>
          <pc:docMk/>
          <pc:sldMk cId="3869426496" sldId="10238"/>
        </pc:sldMkLst>
      </pc:sldChg>
      <pc:sldChg chg="modCm">
        <pc:chgData name="Kuntal Ghoshal" userId="S::kughosha@microsoft.com::9365114f-3662-492a-8f44-5af3c15a2194" providerId="AD" clId="Web-{05966ADD-691D-8683-DAF2-D15446A2B1FF}" dt="2021-02-08T06:13:07.187" v="6"/>
        <pc:sldMkLst>
          <pc:docMk/>
          <pc:sldMk cId="1247591511" sldId="10243"/>
        </pc:sldMkLst>
      </pc:sldChg>
      <pc:sldChg chg="addCm">
        <pc:chgData name="Kuntal Ghoshal" userId="S::kughosha@microsoft.com::9365114f-3662-492a-8f44-5af3c15a2194" providerId="AD" clId="Web-{05966ADD-691D-8683-DAF2-D15446A2B1FF}" dt="2021-02-08T06:14:13.816" v="7"/>
        <pc:sldMkLst>
          <pc:docMk/>
          <pc:sldMk cId="2495781146" sldId="10244"/>
        </pc:sldMkLst>
      </pc:sldChg>
      <pc:sldChg chg="addCm">
        <pc:chgData name="Kuntal Ghoshal" userId="S::kughosha@microsoft.com::9365114f-3662-492a-8f44-5af3c15a2194" providerId="AD" clId="Web-{05966ADD-691D-8683-DAF2-D15446A2B1FF}" dt="2021-02-08T06:32:26.250" v="11"/>
        <pc:sldMkLst>
          <pc:docMk/>
          <pc:sldMk cId="3549929259" sldId="10256"/>
        </pc:sldMkLst>
      </pc:sldChg>
      <pc:sldChg chg="addCm">
        <pc:chgData name="Kuntal Ghoshal" userId="S::kughosha@microsoft.com::9365114f-3662-492a-8f44-5af3c15a2194" providerId="AD" clId="Web-{05966ADD-691D-8683-DAF2-D15446A2B1FF}" dt="2021-02-08T06:30:23.260" v="10"/>
        <pc:sldMkLst>
          <pc:docMk/>
          <pc:sldMk cId="706792741" sldId="10259"/>
        </pc:sldMkLst>
      </pc:sldChg>
    </pc:docChg>
  </pc:docChgLst>
  <pc:docChgLst>
    <pc:chgData name="Ajit Kotwal" userId="781b8ab5-6f9a-4511-aed5-b50cf9e67252" providerId="ADAL" clId="{B7EE4DDD-33DF-4ECC-B9D1-B5112552FCBE}"/>
    <pc:docChg chg="custSel delSld modSld modSection">
      <pc:chgData name="Ajit Kotwal" userId="781b8ab5-6f9a-4511-aed5-b50cf9e67252" providerId="ADAL" clId="{B7EE4DDD-33DF-4ECC-B9D1-B5112552FCBE}" dt="2021-05-07T16:38:55.104" v="370" actId="1076"/>
      <pc:docMkLst>
        <pc:docMk/>
      </pc:docMkLst>
      <pc:sldChg chg="modSp mod delCm">
        <pc:chgData name="Ajit Kotwal" userId="781b8ab5-6f9a-4511-aed5-b50cf9e67252" providerId="ADAL" clId="{B7EE4DDD-33DF-4ECC-B9D1-B5112552FCBE}" dt="2021-05-07T15:54:16.310" v="275" actId="20577"/>
        <pc:sldMkLst>
          <pc:docMk/>
          <pc:sldMk cId="1094870920" sldId="1735"/>
        </pc:sldMkLst>
        <pc:spChg chg="mod">
          <ac:chgData name="Ajit Kotwal" userId="781b8ab5-6f9a-4511-aed5-b50cf9e67252" providerId="ADAL" clId="{B7EE4DDD-33DF-4ECC-B9D1-B5112552FCBE}" dt="2021-05-07T15:54:16.310" v="275" actId="20577"/>
          <ac:spMkLst>
            <pc:docMk/>
            <pc:sldMk cId="1094870920" sldId="1735"/>
            <ac:spMk id="41" creationId="{177907F9-2172-46A3-AEA0-8DD4122F217B}"/>
          </ac:spMkLst>
        </pc:spChg>
      </pc:sldChg>
      <pc:sldChg chg="delCm">
        <pc:chgData name="Ajit Kotwal" userId="781b8ab5-6f9a-4511-aed5-b50cf9e67252" providerId="ADAL" clId="{B7EE4DDD-33DF-4ECC-B9D1-B5112552FCBE}" dt="2021-05-07T15:38:40.807" v="8"/>
        <pc:sldMkLst>
          <pc:docMk/>
          <pc:sldMk cId="2694433332" sldId="10224"/>
        </pc:sldMkLst>
      </pc:sldChg>
      <pc:sldChg chg="modSp mod delCm modCm">
        <pc:chgData name="Ajit Kotwal" userId="781b8ab5-6f9a-4511-aed5-b50cf9e67252" providerId="ADAL" clId="{B7EE4DDD-33DF-4ECC-B9D1-B5112552FCBE}" dt="2021-05-07T15:57:58.847" v="343" actId="6549"/>
        <pc:sldMkLst>
          <pc:docMk/>
          <pc:sldMk cId="3869426496" sldId="10238"/>
        </pc:sldMkLst>
        <pc:spChg chg="mod">
          <ac:chgData name="Ajit Kotwal" userId="781b8ab5-6f9a-4511-aed5-b50cf9e67252" providerId="ADAL" clId="{B7EE4DDD-33DF-4ECC-B9D1-B5112552FCBE}" dt="2021-05-07T15:57:58.847" v="343" actId="6549"/>
          <ac:spMkLst>
            <pc:docMk/>
            <pc:sldMk cId="3869426496" sldId="10238"/>
            <ac:spMk id="11" creationId="{76583F2C-13BC-4FA8-A9DE-F1F764C38F10}"/>
          </ac:spMkLst>
        </pc:spChg>
      </pc:sldChg>
      <pc:sldChg chg="modSp mod">
        <pc:chgData name="Ajit Kotwal" userId="781b8ab5-6f9a-4511-aed5-b50cf9e67252" providerId="ADAL" clId="{B7EE4DDD-33DF-4ECC-B9D1-B5112552FCBE}" dt="2021-05-07T15:42:09.024" v="38" actId="13926"/>
        <pc:sldMkLst>
          <pc:docMk/>
          <pc:sldMk cId="1764450474" sldId="10239"/>
        </pc:sldMkLst>
        <pc:spChg chg="mod">
          <ac:chgData name="Ajit Kotwal" userId="781b8ab5-6f9a-4511-aed5-b50cf9e67252" providerId="ADAL" clId="{B7EE4DDD-33DF-4ECC-B9D1-B5112552FCBE}" dt="2021-05-07T15:42:09.024" v="38" actId="13926"/>
          <ac:spMkLst>
            <pc:docMk/>
            <pc:sldMk cId="1764450474" sldId="10239"/>
            <ac:spMk id="35" creationId="{82583F54-FD2D-4CF8-9F12-0C897B1000EF}"/>
          </ac:spMkLst>
        </pc:spChg>
      </pc:sldChg>
      <pc:sldChg chg="delCm">
        <pc:chgData name="Ajit Kotwal" userId="781b8ab5-6f9a-4511-aed5-b50cf9e67252" providerId="ADAL" clId="{B7EE4DDD-33DF-4ECC-B9D1-B5112552FCBE}" dt="2021-05-07T15:37:52.086" v="3"/>
        <pc:sldMkLst>
          <pc:docMk/>
          <pc:sldMk cId="1247591511" sldId="10243"/>
        </pc:sldMkLst>
      </pc:sldChg>
      <pc:sldChg chg="addSp delSp modSp mod delCm">
        <pc:chgData name="Ajit Kotwal" userId="781b8ab5-6f9a-4511-aed5-b50cf9e67252" providerId="ADAL" clId="{B7EE4DDD-33DF-4ECC-B9D1-B5112552FCBE}" dt="2021-05-07T16:35:55.238" v="365" actId="1076"/>
        <pc:sldMkLst>
          <pc:docMk/>
          <pc:sldMk cId="2495781146" sldId="10244"/>
        </pc:sldMkLst>
        <pc:picChg chg="add del mod">
          <ac:chgData name="Ajit Kotwal" userId="781b8ab5-6f9a-4511-aed5-b50cf9e67252" providerId="ADAL" clId="{B7EE4DDD-33DF-4ECC-B9D1-B5112552FCBE}" dt="2021-05-07T16:34:33.128" v="354" actId="478"/>
          <ac:picMkLst>
            <pc:docMk/>
            <pc:sldMk cId="2495781146" sldId="10244"/>
            <ac:picMk id="5" creationId="{4E1DB13D-D607-4214-9241-FDF13A85D383}"/>
          </ac:picMkLst>
        </pc:picChg>
        <pc:picChg chg="add del mod">
          <ac:chgData name="Ajit Kotwal" userId="781b8ab5-6f9a-4511-aed5-b50cf9e67252" providerId="ADAL" clId="{B7EE4DDD-33DF-4ECC-B9D1-B5112552FCBE}" dt="2021-05-07T16:35:10.646" v="360" actId="478"/>
          <ac:picMkLst>
            <pc:docMk/>
            <pc:sldMk cId="2495781146" sldId="10244"/>
            <ac:picMk id="7" creationId="{AC089CE7-8066-43AA-A61F-041784B58F57}"/>
          </ac:picMkLst>
        </pc:picChg>
        <pc:picChg chg="add mod">
          <ac:chgData name="Ajit Kotwal" userId="781b8ab5-6f9a-4511-aed5-b50cf9e67252" providerId="ADAL" clId="{B7EE4DDD-33DF-4ECC-B9D1-B5112552FCBE}" dt="2021-05-07T16:35:55.238" v="365" actId="1076"/>
          <ac:picMkLst>
            <pc:docMk/>
            <pc:sldMk cId="2495781146" sldId="10244"/>
            <ac:picMk id="10" creationId="{4E5E4D04-A5B1-40E9-99C9-7F06769E763C}"/>
          </ac:picMkLst>
        </pc:picChg>
        <pc:picChg chg="del">
          <ac:chgData name="Ajit Kotwal" userId="781b8ab5-6f9a-4511-aed5-b50cf9e67252" providerId="ADAL" clId="{B7EE4DDD-33DF-4ECC-B9D1-B5112552FCBE}" dt="2021-05-07T16:27:01.015" v="346" actId="478"/>
          <ac:picMkLst>
            <pc:docMk/>
            <pc:sldMk cId="2495781146" sldId="10244"/>
            <ac:picMk id="20" creationId="{B28CF6E5-11A5-4568-8621-C0E2C870D390}"/>
          </ac:picMkLst>
        </pc:picChg>
      </pc:sldChg>
      <pc:sldChg chg="addSp delSp modSp mod delCm">
        <pc:chgData name="Ajit Kotwal" userId="781b8ab5-6f9a-4511-aed5-b50cf9e67252" providerId="ADAL" clId="{B7EE4DDD-33DF-4ECC-B9D1-B5112552FCBE}" dt="2021-05-07T16:38:55.104" v="370" actId="1076"/>
        <pc:sldMkLst>
          <pc:docMk/>
          <pc:sldMk cId="1090235674" sldId="10247"/>
        </pc:sldMkLst>
        <pc:picChg chg="add mod">
          <ac:chgData name="Ajit Kotwal" userId="781b8ab5-6f9a-4511-aed5-b50cf9e67252" providerId="ADAL" clId="{B7EE4DDD-33DF-4ECC-B9D1-B5112552FCBE}" dt="2021-05-07T16:38:55.104" v="370" actId="1076"/>
          <ac:picMkLst>
            <pc:docMk/>
            <pc:sldMk cId="1090235674" sldId="10247"/>
            <ac:picMk id="5" creationId="{C209E981-42FC-480A-AAF1-D94E0730CDE4}"/>
          </ac:picMkLst>
        </pc:picChg>
        <pc:picChg chg="del mod">
          <ac:chgData name="Ajit Kotwal" userId="781b8ab5-6f9a-4511-aed5-b50cf9e67252" providerId="ADAL" clId="{B7EE4DDD-33DF-4ECC-B9D1-B5112552FCBE}" dt="2021-05-07T16:38:41.649" v="367" actId="478"/>
          <ac:picMkLst>
            <pc:docMk/>
            <pc:sldMk cId="1090235674" sldId="10247"/>
            <ac:picMk id="24" creationId="{B4A20AE3-0C1D-4EFD-A32A-C5D48C939811}"/>
          </ac:picMkLst>
        </pc:picChg>
      </pc:sldChg>
      <pc:sldChg chg="modSp mod modNotesTx">
        <pc:chgData name="Ajit Kotwal" userId="781b8ab5-6f9a-4511-aed5-b50cf9e67252" providerId="ADAL" clId="{B7EE4DDD-33DF-4ECC-B9D1-B5112552FCBE}" dt="2021-05-07T16:01:00.822" v="345" actId="20577"/>
        <pc:sldMkLst>
          <pc:docMk/>
          <pc:sldMk cId="3655946138" sldId="10248"/>
        </pc:sldMkLst>
        <pc:spChg chg="mod">
          <ac:chgData name="Ajit Kotwal" userId="781b8ab5-6f9a-4511-aed5-b50cf9e67252" providerId="ADAL" clId="{B7EE4DDD-33DF-4ECC-B9D1-B5112552FCBE}" dt="2021-05-07T16:01:00.822" v="345" actId="20577"/>
          <ac:spMkLst>
            <pc:docMk/>
            <pc:sldMk cId="3655946138" sldId="10248"/>
            <ac:spMk id="48" creationId="{EC1991FE-22CA-4473-8132-A42D261176C3}"/>
          </ac:spMkLst>
        </pc:spChg>
      </pc:sldChg>
      <pc:sldChg chg="modSp mod">
        <pc:chgData name="Ajit Kotwal" userId="781b8ab5-6f9a-4511-aed5-b50cf9e67252" providerId="ADAL" clId="{B7EE4DDD-33DF-4ECC-B9D1-B5112552FCBE}" dt="2021-05-07T15:48:34.792" v="46" actId="20577"/>
        <pc:sldMkLst>
          <pc:docMk/>
          <pc:sldMk cId="2437523513" sldId="10249"/>
        </pc:sldMkLst>
        <pc:spChg chg="mod">
          <ac:chgData name="Ajit Kotwal" userId="781b8ab5-6f9a-4511-aed5-b50cf9e67252" providerId="ADAL" clId="{B7EE4DDD-33DF-4ECC-B9D1-B5112552FCBE}" dt="2021-05-07T15:48:34.792" v="46" actId="20577"/>
          <ac:spMkLst>
            <pc:docMk/>
            <pc:sldMk cId="2437523513" sldId="10249"/>
            <ac:spMk id="15" creationId="{BDD64BFD-7ED9-4476-ABC3-6BBAC4A275B2}"/>
          </ac:spMkLst>
        </pc:spChg>
      </pc:sldChg>
      <pc:sldChg chg="del delCm">
        <pc:chgData name="Ajit Kotwal" userId="781b8ab5-6f9a-4511-aed5-b50cf9e67252" providerId="ADAL" clId="{B7EE4DDD-33DF-4ECC-B9D1-B5112552FCBE}" dt="2021-05-07T15:47:38.203" v="39" actId="47"/>
        <pc:sldMkLst>
          <pc:docMk/>
          <pc:sldMk cId="706792741" sldId="10259"/>
        </pc:sldMkLst>
      </pc:sldChg>
      <pc:sldChg chg="del delCm modCm">
        <pc:chgData name="Ajit Kotwal" userId="781b8ab5-6f9a-4511-aed5-b50cf9e67252" providerId="ADAL" clId="{B7EE4DDD-33DF-4ECC-B9D1-B5112552FCBE}" dt="2021-05-07T15:41:54.123" v="37" actId="47"/>
        <pc:sldMkLst>
          <pc:docMk/>
          <pc:sldMk cId="3979634199" sldId="10260"/>
        </pc:sldMkLst>
      </pc:sldChg>
      <pc:sldChg chg="modSp del mod delCm modCm">
        <pc:chgData name="Ajit Kotwal" userId="781b8ab5-6f9a-4511-aed5-b50cf9e67252" providerId="ADAL" clId="{B7EE4DDD-33DF-4ECC-B9D1-B5112552FCBE}" dt="2021-05-07T15:47:58.868" v="42" actId="47"/>
        <pc:sldMkLst>
          <pc:docMk/>
          <pc:sldMk cId="1419640178" sldId="10261"/>
        </pc:sldMkLst>
        <pc:graphicFrameChg chg="modGraphic">
          <ac:chgData name="Ajit Kotwal" userId="781b8ab5-6f9a-4511-aed5-b50cf9e67252" providerId="ADAL" clId="{B7EE4DDD-33DF-4ECC-B9D1-B5112552FCBE}" dt="2021-05-07T15:40:10.312" v="29" actId="20577"/>
          <ac:graphicFrameMkLst>
            <pc:docMk/>
            <pc:sldMk cId="1419640178" sldId="10261"/>
            <ac:graphicFrameMk id="12" creationId="{0BA42EE4-2131-467C-8AC6-CFACB976FC9C}"/>
          </ac:graphicFrameMkLst>
        </pc:graphicFrameChg>
      </pc:sldChg>
      <pc:sldChg chg="del">
        <pc:chgData name="Ajit Kotwal" userId="781b8ab5-6f9a-4511-aed5-b50cf9e67252" providerId="ADAL" clId="{B7EE4DDD-33DF-4ECC-B9D1-B5112552FCBE}" dt="2021-05-07T15:48:05.528" v="43" actId="47"/>
        <pc:sldMkLst>
          <pc:docMk/>
          <pc:sldMk cId="2361702661" sldId="10262"/>
        </pc:sldMkLst>
      </pc:sldChg>
      <pc:sldChg chg="del">
        <pc:chgData name="Ajit Kotwal" userId="781b8ab5-6f9a-4511-aed5-b50cf9e67252" providerId="ADAL" clId="{B7EE4DDD-33DF-4ECC-B9D1-B5112552FCBE}" dt="2021-05-07T15:49:09.922" v="49" actId="47"/>
        <pc:sldMkLst>
          <pc:docMk/>
          <pc:sldMk cId="3865687768" sldId="10263"/>
        </pc:sldMkLst>
      </pc:sldChg>
      <pc:sldChg chg="del delCm">
        <pc:chgData name="Ajit Kotwal" userId="781b8ab5-6f9a-4511-aed5-b50cf9e67252" providerId="ADAL" clId="{B7EE4DDD-33DF-4ECC-B9D1-B5112552FCBE}" dt="2021-05-07T15:47:44.976" v="40" actId="47"/>
        <pc:sldMkLst>
          <pc:docMk/>
          <pc:sldMk cId="221291899" sldId="10264"/>
        </pc:sldMkLst>
      </pc:sldChg>
      <pc:sldChg chg="modSp mod">
        <pc:chgData name="Ajit Kotwal" userId="781b8ab5-6f9a-4511-aed5-b50cf9e67252" providerId="ADAL" clId="{B7EE4DDD-33DF-4ECC-B9D1-B5112552FCBE}" dt="2021-05-07T15:48:42.778" v="47" actId="20577"/>
        <pc:sldMkLst>
          <pc:docMk/>
          <pc:sldMk cId="2263370975" sldId="10274"/>
        </pc:sldMkLst>
        <pc:spChg chg="mod">
          <ac:chgData name="Ajit Kotwal" userId="781b8ab5-6f9a-4511-aed5-b50cf9e67252" providerId="ADAL" clId="{B7EE4DDD-33DF-4ECC-B9D1-B5112552FCBE}" dt="2021-05-07T15:48:42.778" v="47" actId="20577"/>
          <ac:spMkLst>
            <pc:docMk/>
            <pc:sldMk cId="2263370975" sldId="10274"/>
            <ac:spMk id="15" creationId="{BDD64BFD-7ED9-4476-ABC3-6BBAC4A275B2}"/>
          </ac:spMkLst>
        </pc:spChg>
      </pc:sldChg>
      <pc:sldChg chg="del">
        <pc:chgData name="Ajit Kotwal" userId="781b8ab5-6f9a-4511-aed5-b50cf9e67252" providerId="ADAL" clId="{B7EE4DDD-33DF-4ECC-B9D1-B5112552FCBE}" dt="2021-05-07T15:47:48.661" v="41" actId="47"/>
        <pc:sldMkLst>
          <pc:docMk/>
          <pc:sldMk cId="1648800858" sldId="10275"/>
        </pc:sldMkLst>
      </pc:sldChg>
      <pc:sldChg chg="modSp mod">
        <pc:chgData name="Ajit Kotwal" userId="781b8ab5-6f9a-4511-aed5-b50cf9e67252" providerId="ADAL" clId="{B7EE4DDD-33DF-4ECC-B9D1-B5112552FCBE}" dt="2021-05-07T15:48:24.698" v="45" actId="6549"/>
        <pc:sldMkLst>
          <pc:docMk/>
          <pc:sldMk cId="2466818646" sldId="10276"/>
        </pc:sldMkLst>
        <pc:spChg chg="mod">
          <ac:chgData name="Ajit Kotwal" userId="781b8ab5-6f9a-4511-aed5-b50cf9e67252" providerId="ADAL" clId="{B7EE4DDD-33DF-4ECC-B9D1-B5112552FCBE}" dt="2021-05-07T15:48:24.698" v="45" actId="6549"/>
          <ac:spMkLst>
            <pc:docMk/>
            <pc:sldMk cId="2466818646" sldId="10276"/>
            <ac:spMk id="15" creationId="{BDD64BFD-7ED9-4476-ABC3-6BBAC4A275B2}"/>
          </ac:spMkLst>
        </pc:spChg>
      </pc:sldChg>
      <pc:sldChg chg="modSp mod">
        <pc:chgData name="Ajit Kotwal" userId="781b8ab5-6f9a-4511-aed5-b50cf9e67252" providerId="ADAL" clId="{B7EE4DDD-33DF-4ECC-B9D1-B5112552FCBE}" dt="2021-05-07T15:48:16.410" v="44" actId="6549"/>
        <pc:sldMkLst>
          <pc:docMk/>
          <pc:sldMk cId="397174415" sldId="10277"/>
        </pc:sldMkLst>
        <pc:spChg chg="mod">
          <ac:chgData name="Ajit Kotwal" userId="781b8ab5-6f9a-4511-aed5-b50cf9e67252" providerId="ADAL" clId="{B7EE4DDD-33DF-4ECC-B9D1-B5112552FCBE}" dt="2021-05-07T15:48:16.410" v="44" actId="6549"/>
          <ac:spMkLst>
            <pc:docMk/>
            <pc:sldMk cId="397174415" sldId="10277"/>
            <ac:spMk id="15" creationId="{BDD64BFD-7ED9-4476-ABC3-6BBAC4A275B2}"/>
          </ac:spMkLst>
        </pc:spChg>
      </pc:sldChg>
      <pc:sldChg chg="modSp mod">
        <pc:chgData name="Ajit Kotwal" userId="781b8ab5-6f9a-4511-aed5-b50cf9e67252" providerId="ADAL" clId="{B7EE4DDD-33DF-4ECC-B9D1-B5112552FCBE}" dt="2021-05-07T15:49:04.234" v="48" actId="20577"/>
        <pc:sldMkLst>
          <pc:docMk/>
          <pc:sldMk cId="2239434521" sldId="10278"/>
        </pc:sldMkLst>
        <pc:spChg chg="mod">
          <ac:chgData name="Ajit Kotwal" userId="781b8ab5-6f9a-4511-aed5-b50cf9e67252" providerId="ADAL" clId="{B7EE4DDD-33DF-4ECC-B9D1-B5112552FCBE}" dt="2021-05-07T15:49:04.234" v="48" actId="20577"/>
          <ac:spMkLst>
            <pc:docMk/>
            <pc:sldMk cId="2239434521" sldId="10278"/>
            <ac:spMk id="15" creationId="{BDD64BFD-7ED9-4476-ABC3-6BBAC4A275B2}"/>
          </ac:spMkLst>
        </pc:spChg>
      </pc:sldChg>
      <pc:sldChg chg="modSp mod">
        <pc:chgData name="Ajit Kotwal" userId="781b8ab5-6f9a-4511-aed5-b50cf9e67252" providerId="ADAL" clId="{B7EE4DDD-33DF-4ECC-B9D1-B5112552FCBE}" dt="2021-05-07T15:49:21.237" v="50" actId="20577"/>
        <pc:sldMkLst>
          <pc:docMk/>
          <pc:sldMk cId="1161685352" sldId="10279"/>
        </pc:sldMkLst>
        <pc:spChg chg="mod">
          <ac:chgData name="Ajit Kotwal" userId="781b8ab5-6f9a-4511-aed5-b50cf9e67252" providerId="ADAL" clId="{B7EE4DDD-33DF-4ECC-B9D1-B5112552FCBE}" dt="2021-05-07T15:49:21.237" v="50" actId="20577"/>
          <ac:spMkLst>
            <pc:docMk/>
            <pc:sldMk cId="1161685352" sldId="10279"/>
            <ac:spMk id="15" creationId="{BDD64BFD-7ED9-4476-ABC3-6BBAC4A275B2}"/>
          </ac:spMkLst>
        </pc:spChg>
      </pc:sldChg>
      <pc:sldChg chg="modSp mod">
        <pc:chgData name="Ajit Kotwal" userId="781b8ab5-6f9a-4511-aed5-b50cf9e67252" providerId="ADAL" clId="{B7EE4DDD-33DF-4ECC-B9D1-B5112552FCBE}" dt="2021-05-07T15:49:32.811" v="52" actId="6549"/>
        <pc:sldMkLst>
          <pc:docMk/>
          <pc:sldMk cId="916965836" sldId="10280"/>
        </pc:sldMkLst>
        <pc:spChg chg="mod">
          <ac:chgData name="Ajit Kotwal" userId="781b8ab5-6f9a-4511-aed5-b50cf9e67252" providerId="ADAL" clId="{B7EE4DDD-33DF-4ECC-B9D1-B5112552FCBE}" dt="2021-05-07T15:49:32.811" v="52" actId="6549"/>
          <ac:spMkLst>
            <pc:docMk/>
            <pc:sldMk cId="916965836" sldId="10280"/>
            <ac:spMk id="15" creationId="{BDD64BFD-7ED9-4476-ABC3-6BBAC4A275B2}"/>
          </ac:spMkLst>
        </pc:spChg>
      </pc:sldChg>
      <pc:sldChg chg="modSp mod">
        <pc:chgData name="Ajit Kotwal" userId="781b8ab5-6f9a-4511-aed5-b50cf9e67252" providerId="ADAL" clId="{B7EE4DDD-33DF-4ECC-B9D1-B5112552FCBE}" dt="2021-05-07T15:49:43.888" v="54" actId="6549"/>
        <pc:sldMkLst>
          <pc:docMk/>
          <pc:sldMk cId="3346154788" sldId="10281"/>
        </pc:sldMkLst>
        <pc:spChg chg="mod">
          <ac:chgData name="Ajit Kotwal" userId="781b8ab5-6f9a-4511-aed5-b50cf9e67252" providerId="ADAL" clId="{B7EE4DDD-33DF-4ECC-B9D1-B5112552FCBE}" dt="2021-05-07T15:49:43.888" v="54" actId="6549"/>
          <ac:spMkLst>
            <pc:docMk/>
            <pc:sldMk cId="3346154788" sldId="10281"/>
            <ac:spMk id="15" creationId="{BDD64BFD-7ED9-4476-ABC3-6BBAC4A275B2}"/>
          </ac:spMkLst>
        </pc:spChg>
      </pc:sldChg>
      <pc:sldChg chg="modSp mod">
        <pc:chgData name="Ajit Kotwal" userId="781b8ab5-6f9a-4511-aed5-b50cf9e67252" providerId="ADAL" clId="{B7EE4DDD-33DF-4ECC-B9D1-B5112552FCBE}" dt="2021-05-07T15:49:53.715" v="56" actId="6549"/>
        <pc:sldMkLst>
          <pc:docMk/>
          <pc:sldMk cId="2981688304" sldId="10282"/>
        </pc:sldMkLst>
        <pc:spChg chg="mod">
          <ac:chgData name="Ajit Kotwal" userId="781b8ab5-6f9a-4511-aed5-b50cf9e67252" providerId="ADAL" clId="{B7EE4DDD-33DF-4ECC-B9D1-B5112552FCBE}" dt="2021-05-07T15:49:53.715" v="56" actId="6549"/>
          <ac:spMkLst>
            <pc:docMk/>
            <pc:sldMk cId="2981688304" sldId="10282"/>
            <ac:spMk id="15" creationId="{BDD64BFD-7ED9-4476-ABC3-6BBAC4A275B2}"/>
          </ac:spMkLst>
        </pc:spChg>
      </pc:sldChg>
      <pc:sldChg chg="del">
        <pc:chgData name="Ajit Kotwal" userId="781b8ab5-6f9a-4511-aed5-b50cf9e67252" providerId="ADAL" clId="{B7EE4DDD-33DF-4ECC-B9D1-B5112552FCBE}" dt="2021-05-07T15:49:23.762" v="51" actId="47"/>
        <pc:sldMkLst>
          <pc:docMk/>
          <pc:sldMk cId="371622776" sldId="10283"/>
        </pc:sldMkLst>
      </pc:sldChg>
      <pc:sldChg chg="del delCm">
        <pc:chgData name="Ajit Kotwal" userId="781b8ab5-6f9a-4511-aed5-b50cf9e67252" providerId="ADAL" clId="{B7EE4DDD-33DF-4ECC-B9D1-B5112552FCBE}" dt="2021-05-07T15:49:36.046" v="53" actId="47"/>
        <pc:sldMkLst>
          <pc:docMk/>
          <pc:sldMk cId="503916700" sldId="10284"/>
        </pc:sldMkLst>
      </pc:sldChg>
      <pc:sldChg chg="del">
        <pc:chgData name="Ajit Kotwal" userId="781b8ab5-6f9a-4511-aed5-b50cf9e67252" providerId="ADAL" clId="{B7EE4DDD-33DF-4ECC-B9D1-B5112552FCBE}" dt="2021-05-07T15:49:46.396" v="55" actId="47"/>
        <pc:sldMkLst>
          <pc:docMk/>
          <pc:sldMk cId="2606447300" sldId="10285"/>
        </pc:sldMkLst>
      </pc:sldChg>
      <pc:sldChg chg="del">
        <pc:chgData name="Ajit Kotwal" userId="781b8ab5-6f9a-4511-aed5-b50cf9e67252" providerId="ADAL" clId="{B7EE4DDD-33DF-4ECC-B9D1-B5112552FCBE}" dt="2021-05-07T15:49:56.747" v="57" actId="47"/>
        <pc:sldMkLst>
          <pc:docMk/>
          <pc:sldMk cId="3619002474" sldId="10286"/>
        </pc:sldMkLst>
      </pc:sldChg>
    </pc:docChg>
  </pc:docChgLst>
  <pc:docChgLst>
    <pc:chgData name="Kuntal Ghoshal" userId="9365114f-3662-492a-8f44-5af3c15a2194" providerId="ADAL" clId="{DE3C81DD-6771-421F-A44C-6EDE39C98196}"/>
    <pc:docChg chg="undo custSel addSld modSld sldOrd modSection">
      <pc:chgData name="Kuntal Ghoshal" userId="9365114f-3662-492a-8f44-5af3c15a2194" providerId="ADAL" clId="{DE3C81DD-6771-421F-A44C-6EDE39C98196}" dt="2021-02-15T05:44:49.230" v="1003"/>
      <pc:docMkLst>
        <pc:docMk/>
      </pc:docMkLst>
      <pc:sldChg chg="modCm">
        <pc:chgData name="Kuntal Ghoshal" userId="9365114f-3662-492a-8f44-5af3c15a2194" providerId="ADAL" clId="{DE3C81DD-6771-421F-A44C-6EDE39C98196}" dt="2021-02-15T05:29:25.603" v="999"/>
        <pc:sldMkLst>
          <pc:docMk/>
          <pc:sldMk cId="1247591511" sldId="10243"/>
        </pc:sldMkLst>
      </pc:sldChg>
      <pc:sldChg chg="ord">
        <pc:chgData name="Kuntal Ghoshal" userId="9365114f-3662-492a-8f44-5af3c15a2194" providerId="ADAL" clId="{DE3C81DD-6771-421F-A44C-6EDE39C98196}" dt="2021-02-11T11:07:49.274" v="1"/>
        <pc:sldMkLst>
          <pc:docMk/>
          <pc:sldMk cId="2495781146" sldId="10244"/>
        </pc:sldMkLst>
      </pc:sldChg>
      <pc:sldChg chg="addCm">
        <pc:chgData name="Kuntal Ghoshal" userId="9365114f-3662-492a-8f44-5af3c15a2194" providerId="ADAL" clId="{DE3C81DD-6771-421F-A44C-6EDE39C98196}" dt="2021-02-15T05:30:31.853" v="1000"/>
        <pc:sldMkLst>
          <pc:docMk/>
          <pc:sldMk cId="1419640178" sldId="10261"/>
        </pc:sldMkLst>
      </pc:sldChg>
      <pc:sldChg chg="modSp add mod">
        <pc:chgData name="Kuntal Ghoshal" userId="9365114f-3662-492a-8f44-5af3c15a2194" providerId="ADAL" clId="{DE3C81DD-6771-421F-A44C-6EDE39C98196}" dt="2021-02-11T11:29:52.797" v="996" actId="20577"/>
        <pc:sldMkLst>
          <pc:docMk/>
          <pc:sldMk cId="221291899" sldId="10264"/>
        </pc:sldMkLst>
        <pc:spChg chg="mod">
          <ac:chgData name="Kuntal Ghoshal" userId="9365114f-3662-492a-8f44-5af3c15a2194" providerId="ADAL" clId="{DE3C81DD-6771-421F-A44C-6EDE39C98196}" dt="2021-02-11T11:13:39.643" v="12" actId="20577"/>
          <ac:spMkLst>
            <pc:docMk/>
            <pc:sldMk cId="221291899" sldId="10264"/>
            <ac:spMk id="2" creationId="{11981002-9C29-43DD-9EFC-331DD8486892}"/>
          </ac:spMkLst>
        </pc:spChg>
        <pc:graphicFrameChg chg="mod modGraphic">
          <ac:chgData name="Kuntal Ghoshal" userId="9365114f-3662-492a-8f44-5af3c15a2194" providerId="ADAL" clId="{DE3C81DD-6771-421F-A44C-6EDE39C98196}" dt="2021-02-11T11:29:52.797" v="996" actId="20577"/>
          <ac:graphicFrameMkLst>
            <pc:docMk/>
            <pc:sldMk cId="221291899" sldId="10264"/>
            <ac:graphicFrameMk id="8" creationId="{9C3FA538-2EEB-4441-958F-8EEC1522DF33}"/>
          </ac:graphicFrameMkLst>
        </pc:graphicFrameChg>
        <pc:graphicFrameChg chg="modGraphic">
          <ac:chgData name="Kuntal Ghoshal" userId="9365114f-3662-492a-8f44-5af3c15a2194" providerId="ADAL" clId="{DE3C81DD-6771-421F-A44C-6EDE39C98196}" dt="2021-02-11T11:25:49.290" v="846" actId="20577"/>
          <ac:graphicFrameMkLst>
            <pc:docMk/>
            <pc:sldMk cId="221291899" sldId="10264"/>
            <ac:graphicFrameMk id="12" creationId="{0BA42EE4-2131-467C-8AC6-CFACB976FC9C}"/>
          </ac:graphicFrameMkLst>
        </pc:graphicFrameChg>
      </pc:sldChg>
      <pc:sldChg chg="addCm modCm">
        <pc:chgData name="Kuntal Ghoshal" userId="9365114f-3662-492a-8f44-5af3c15a2194" providerId="ADAL" clId="{DE3C81DD-6771-421F-A44C-6EDE39C98196}" dt="2021-02-15T05:44:49.230" v="1003"/>
        <pc:sldMkLst>
          <pc:docMk/>
          <pc:sldMk cId="503916700" sldId="10284"/>
        </pc:sldMkLst>
      </pc:sldChg>
    </pc:docChg>
  </pc:docChgLst>
  <pc:docChgLst>
    <pc:chgData name="Ajit Kotwal" userId="S::ajkotwal@microsoft.com::781b8ab5-6f9a-4511-aed5-b50cf9e67252" providerId="AD" clId="Web-{15022DDB-F845-48B6-881B-E999D30C64A5}"/>
    <pc:docChg chg="modSld">
      <pc:chgData name="Ajit Kotwal" userId="S::ajkotwal@microsoft.com::781b8ab5-6f9a-4511-aed5-b50cf9e67252" providerId="AD" clId="Web-{15022DDB-F845-48B6-881B-E999D30C64A5}" dt="2021-02-15T08:34:26.478" v="42" actId="20577"/>
      <pc:docMkLst>
        <pc:docMk/>
      </pc:docMkLst>
      <pc:sldChg chg="modCm">
        <pc:chgData name="Ajit Kotwal" userId="S::ajkotwal@microsoft.com::781b8ab5-6f9a-4511-aed5-b50cf9e67252" providerId="AD" clId="Web-{15022DDB-F845-48B6-881B-E999D30C64A5}" dt="2021-02-15T08:25:05.304" v="1"/>
        <pc:sldMkLst>
          <pc:docMk/>
          <pc:sldMk cId="1094870920" sldId="1735"/>
        </pc:sldMkLst>
      </pc:sldChg>
      <pc:sldChg chg="modCm">
        <pc:chgData name="Ajit Kotwal" userId="S::ajkotwal@microsoft.com::781b8ab5-6f9a-4511-aed5-b50cf9e67252" providerId="AD" clId="Web-{15022DDB-F845-48B6-881B-E999D30C64A5}" dt="2021-02-15T08:27:05.230" v="5"/>
        <pc:sldMkLst>
          <pc:docMk/>
          <pc:sldMk cId="3869426496" sldId="10238"/>
        </pc:sldMkLst>
      </pc:sldChg>
      <pc:sldChg chg="modCm">
        <pc:chgData name="Ajit Kotwal" userId="S::ajkotwal@microsoft.com::781b8ab5-6f9a-4511-aed5-b50cf9e67252" providerId="AD" clId="Web-{15022DDB-F845-48B6-881B-E999D30C64A5}" dt="2021-02-15T08:25:17.961" v="2"/>
        <pc:sldMkLst>
          <pc:docMk/>
          <pc:sldMk cId="1247591511" sldId="10243"/>
        </pc:sldMkLst>
      </pc:sldChg>
      <pc:sldChg chg="modCm">
        <pc:chgData name="Ajit Kotwal" userId="S::ajkotwal@microsoft.com::781b8ab5-6f9a-4511-aed5-b50cf9e67252" providerId="AD" clId="Web-{15022DDB-F845-48B6-881B-E999D30C64A5}" dt="2021-02-15T08:26:15.306" v="4"/>
        <pc:sldMkLst>
          <pc:docMk/>
          <pc:sldMk cId="2495781146" sldId="10244"/>
        </pc:sldMkLst>
      </pc:sldChg>
      <pc:sldChg chg="modCm">
        <pc:chgData name="Ajit Kotwal" userId="S::ajkotwal@microsoft.com::781b8ab5-6f9a-4511-aed5-b50cf9e67252" providerId="AD" clId="Web-{15022DDB-F845-48B6-881B-E999D30C64A5}" dt="2021-02-15T08:27:26.809" v="7"/>
        <pc:sldMkLst>
          <pc:docMk/>
          <pc:sldMk cId="1090235674" sldId="10247"/>
        </pc:sldMkLst>
      </pc:sldChg>
      <pc:sldChg chg="modCm">
        <pc:chgData name="Ajit Kotwal" userId="S::ajkotwal@microsoft.com::781b8ab5-6f9a-4511-aed5-b50cf9e67252" providerId="AD" clId="Web-{15022DDB-F845-48B6-881B-E999D30C64A5}" dt="2021-02-15T08:28:35.920" v="10"/>
        <pc:sldMkLst>
          <pc:docMk/>
          <pc:sldMk cId="706792741" sldId="10259"/>
        </pc:sldMkLst>
      </pc:sldChg>
      <pc:sldChg chg="modCm">
        <pc:chgData name="Ajit Kotwal" userId="S::ajkotwal@microsoft.com::781b8ab5-6f9a-4511-aed5-b50cf9e67252" providerId="AD" clId="Web-{15022DDB-F845-48B6-881B-E999D30C64A5}" dt="2021-02-15T08:30:12.299" v="12"/>
        <pc:sldMkLst>
          <pc:docMk/>
          <pc:sldMk cId="1419640178" sldId="10261"/>
        </pc:sldMkLst>
      </pc:sldChg>
      <pc:sldChg chg="modCm">
        <pc:chgData name="Ajit Kotwal" userId="S::ajkotwal@microsoft.com::781b8ab5-6f9a-4511-aed5-b50cf9e67252" providerId="AD" clId="Web-{15022DDB-F845-48B6-881B-E999D30C64A5}" dt="2021-02-15T08:28:57.874" v="11"/>
        <pc:sldMkLst>
          <pc:docMk/>
          <pc:sldMk cId="221291899" sldId="10264"/>
        </pc:sldMkLst>
      </pc:sldChg>
      <pc:sldChg chg="modSp modCm">
        <pc:chgData name="Ajit Kotwal" userId="S::ajkotwal@microsoft.com::781b8ab5-6f9a-4511-aed5-b50cf9e67252" providerId="AD" clId="Web-{15022DDB-F845-48B6-881B-E999D30C64A5}" dt="2021-02-15T08:34:26.478" v="42" actId="20577"/>
        <pc:sldMkLst>
          <pc:docMk/>
          <pc:sldMk cId="503916700" sldId="10284"/>
        </pc:sldMkLst>
        <pc:graphicFrameChg chg="modGraphic">
          <ac:chgData name="Ajit Kotwal" userId="S::ajkotwal@microsoft.com::781b8ab5-6f9a-4511-aed5-b50cf9e67252" providerId="AD" clId="Web-{15022DDB-F845-48B6-881B-E999D30C64A5}" dt="2021-02-15T08:32:46.600" v="24" actId="20577"/>
          <ac:graphicFrameMkLst>
            <pc:docMk/>
            <pc:sldMk cId="503916700" sldId="10284"/>
            <ac:graphicFrameMk id="8" creationId="{9C3FA538-2EEB-4441-958F-8EEC1522DF33}"/>
          </ac:graphicFrameMkLst>
        </pc:graphicFrameChg>
        <pc:graphicFrameChg chg="modGraphic">
          <ac:chgData name="Ajit Kotwal" userId="S::ajkotwal@microsoft.com::781b8ab5-6f9a-4511-aed5-b50cf9e67252" providerId="AD" clId="Web-{15022DDB-F845-48B6-881B-E999D30C64A5}" dt="2021-02-15T08:34:26.478" v="42" actId="20577"/>
          <ac:graphicFrameMkLst>
            <pc:docMk/>
            <pc:sldMk cId="503916700" sldId="10284"/>
            <ac:graphicFrameMk id="12" creationId="{0BA42EE4-2131-467C-8AC6-CFACB976FC9C}"/>
          </ac:graphicFrameMkLst>
        </pc:graphicFrameChg>
      </pc:sldChg>
    </pc:docChg>
  </pc:docChgLst>
  <pc:docChgLst>
    <pc:chgData name="Ajit Kotwal" userId="S::ajkotwal@microsoft.com::781b8ab5-6f9a-4511-aed5-b50cf9e67252" providerId="AD" clId="Web-{4F1F6329-7356-4799-A75B-9031A8A9E2F4}"/>
    <pc:docChg chg="modSld">
      <pc:chgData name="Ajit Kotwal" userId="S::ajkotwal@microsoft.com::781b8ab5-6f9a-4511-aed5-b50cf9e67252" providerId="AD" clId="Web-{4F1F6329-7356-4799-A75B-9031A8A9E2F4}" dt="2021-02-13T13:07:02.105" v="69" actId="20577"/>
      <pc:docMkLst>
        <pc:docMk/>
      </pc:docMkLst>
      <pc:sldChg chg="modSp">
        <pc:chgData name="Ajit Kotwal" userId="S::ajkotwal@microsoft.com::781b8ab5-6f9a-4511-aed5-b50cf9e67252" providerId="AD" clId="Web-{4F1F6329-7356-4799-A75B-9031A8A9E2F4}" dt="2021-02-13T13:03:08.417" v="33" actId="20577"/>
        <pc:sldMkLst>
          <pc:docMk/>
          <pc:sldMk cId="1094870920" sldId="1735"/>
        </pc:sldMkLst>
        <pc:spChg chg="mod">
          <ac:chgData name="Ajit Kotwal" userId="S::ajkotwal@microsoft.com::781b8ab5-6f9a-4511-aed5-b50cf9e67252" providerId="AD" clId="Web-{4F1F6329-7356-4799-A75B-9031A8A9E2F4}" dt="2021-02-13T13:03:08.417" v="33" actId="20577"/>
          <ac:spMkLst>
            <pc:docMk/>
            <pc:sldMk cId="1094870920" sldId="1735"/>
            <ac:spMk id="106" creationId="{687ADBDF-B730-4EA0-979B-30E0889CBA59}"/>
          </ac:spMkLst>
        </pc:spChg>
      </pc:sldChg>
      <pc:sldChg chg="modSp">
        <pc:chgData name="Ajit Kotwal" userId="S::ajkotwal@microsoft.com::781b8ab5-6f9a-4511-aed5-b50cf9e67252" providerId="AD" clId="Web-{4F1F6329-7356-4799-A75B-9031A8A9E2F4}" dt="2021-02-13T13:04:30.465" v="67" actId="20577"/>
        <pc:sldMkLst>
          <pc:docMk/>
          <pc:sldMk cId="2694433332" sldId="10224"/>
        </pc:sldMkLst>
        <pc:spChg chg="mod">
          <ac:chgData name="Ajit Kotwal" userId="S::ajkotwal@microsoft.com::781b8ab5-6f9a-4511-aed5-b50cf9e67252" providerId="AD" clId="Web-{4F1F6329-7356-4799-A75B-9031A8A9E2F4}" dt="2021-02-13T13:04:30.465" v="67" actId="20577"/>
          <ac:spMkLst>
            <pc:docMk/>
            <pc:sldMk cId="2694433332" sldId="10224"/>
            <ac:spMk id="23" creationId="{22A46BAD-659F-458D-A07B-9339075E8FFB}"/>
          </ac:spMkLst>
        </pc:spChg>
      </pc:sldChg>
      <pc:sldChg chg="modSp">
        <pc:chgData name="Ajit Kotwal" userId="S::ajkotwal@microsoft.com::781b8ab5-6f9a-4511-aed5-b50cf9e67252" providerId="AD" clId="Web-{4F1F6329-7356-4799-A75B-9031A8A9E2F4}" dt="2021-02-13T13:02:53.604" v="22" actId="20577"/>
        <pc:sldMkLst>
          <pc:docMk/>
          <pc:sldMk cId="1247591511" sldId="10243"/>
        </pc:sldMkLst>
        <pc:spChg chg="mod">
          <ac:chgData name="Ajit Kotwal" userId="S::ajkotwal@microsoft.com::781b8ab5-6f9a-4511-aed5-b50cf9e67252" providerId="AD" clId="Web-{4F1F6329-7356-4799-A75B-9031A8A9E2F4}" dt="2021-02-13T13:02:53.604" v="22" actId="20577"/>
          <ac:spMkLst>
            <pc:docMk/>
            <pc:sldMk cId="1247591511" sldId="10243"/>
            <ac:spMk id="2" creationId="{45010FE8-BF09-4146-B084-66CB05B66FD9}"/>
          </ac:spMkLst>
        </pc:spChg>
      </pc:sldChg>
      <pc:sldChg chg="modSp">
        <pc:chgData name="Ajit Kotwal" userId="S::ajkotwal@microsoft.com::781b8ab5-6f9a-4511-aed5-b50cf9e67252" providerId="AD" clId="Web-{4F1F6329-7356-4799-A75B-9031A8A9E2F4}" dt="2021-02-13T13:03:45.792" v="55" actId="20577"/>
        <pc:sldMkLst>
          <pc:docMk/>
          <pc:sldMk cId="2495781146" sldId="10244"/>
        </pc:sldMkLst>
        <pc:spChg chg="mod">
          <ac:chgData name="Ajit Kotwal" userId="S::ajkotwal@microsoft.com::781b8ab5-6f9a-4511-aed5-b50cf9e67252" providerId="AD" clId="Web-{4F1F6329-7356-4799-A75B-9031A8A9E2F4}" dt="2021-02-13T13:03:45.792" v="55" actId="20577"/>
          <ac:spMkLst>
            <pc:docMk/>
            <pc:sldMk cId="2495781146" sldId="10244"/>
            <ac:spMk id="2" creationId="{45010FE8-BF09-4146-B084-66CB05B66FD9}"/>
          </ac:spMkLst>
        </pc:spChg>
      </pc:sldChg>
      <pc:sldChg chg="modSp">
        <pc:chgData name="Ajit Kotwal" userId="S::ajkotwal@microsoft.com::781b8ab5-6f9a-4511-aed5-b50cf9e67252" providerId="AD" clId="Web-{4F1F6329-7356-4799-A75B-9031A8A9E2F4}" dt="2021-02-13T13:07:02.105" v="69" actId="20577"/>
        <pc:sldMkLst>
          <pc:docMk/>
          <pc:sldMk cId="1467403973" sldId="10246"/>
        </pc:sldMkLst>
        <pc:spChg chg="mod">
          <ac:chgData name="Ajit Kotwal" userId="S::ajkotwal@microsoft.com::781b8ab5-6f9a-4511-aed5-b50cf9e67252" providerId="AD" clId="Web-{4F1F6329-7356-4799-A75B-9031A8A9E2F4}" dt="2021-02-13T13:07:02.105" v="69" actId="20577"/>
          <ac:spMkLst>
            <pc:docMk/>
            <pc:sldMk cId="1467403973" sldId="10246"/>
            <ac:spMk id="15" creationId="{BDD64BFD-7ED9-4476-ABC3-6BBAC4A275B2}"/>
          </ac:spMkLst>
        </pc:spChg>
      </pc:sldChg>
      <pc:sldChg chg="modSp">
        <pc:chgData name="Ajit Kotwal" userId="S::ajkotwal@microsoft.com::781b8ab5-6f9a-4511-aed5-b50cf9e67252" providerId="AD" clId="Web-{4F1F6329-7356-4799-A75B-9031A8A9E2F4}" dt="2021-02-13T13:03:25.526" v="35" actId="20577"/>
        <pc:sldMkLst>
          <pc:docMk/>
          <pc:sldMk cId="1580086726" sldId="10251"/>
        </pc:sldMkLst>
        <pc:spChg chg="mod">
          <ac:chgData name="Ajit Kotwal" userId="S::ajkotwal@microsoft.com::781b8ab5-6f9a-4511-aed5-b50cf9e67252" providerId="AD" clId="Web-{4F1F6329-7356-4799-A75B-9031A8A9E2F4}" dt="2021-02-13T13:03:25.526" v="35" actId="20577"/>
          <ac:spMkLst>
            <pc:docMk/>
            <pc:sldMk cId="1580086726" sldId="10251"/>
            <ac:spMk id="8" creationId="{B641FCBC-9EF2-4AD6-AD44-163FDED01C3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7/7/2021</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7/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community.dynamics.com/crm/b/crminthefield/posts/test-automation-and-easyrepro-01---overview-and-getting-started" TargetMode="External"/><Relationship Id="rId2" Type="http://schemas.openxmlformats.org/officeDocument/2006/relationships/slide" Target="../slides/slide33.xml"/><Relationship Id="rId1" Type="http://schemas.openxmlformats.org/officeDocument/2006/relationships/notesMaster" Target="../notesMasters/notesMaster1.xml"/><Relationship Id="rId5" Type="http://schemas.openxmlformats.org/officeDocument/2006/relationships/hyperlink" Target="http://xrmenterprise.com/2020/03/easyrepro-in-60-seconds/" TargetMode="External"/><Relationship Id="rId4" Type="http://schemas.openxmlformats.org/officeDocument/2006/relationships/hyperlink" Target="https://nam06.safelinks.protection.outlook.com/?url=https%3A%2F%2Fwww.youtube.com%2Fwatch%3Fv%3DLF0hmSysWCg&amp;data=01%7C01%7Crichaj%40microsoft.com%7Cdfb4c1fa4aad43b988e508d6c979fe64%7C72f988bf86f141af91ab2d7cd011db47%7C1&amp;sdata=Bxs1impvySOVeL8o6oUHD7BF93G7i%2Fa4vPsLSSvsbxk%3D&amp;reserved=0"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7/7/2021 1: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5362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9</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1</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3</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5</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7</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9</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31</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indent="-171450">
              <a:buFont typeface="Arial" panose="020B0604020202020204" pitchFamily="34" charset="0"/>
              <a:buChar char="•"/>
            </a:pPr>
            <a:r>
              <a:rPr lang="en-US" noProof="0"/>
              <a:t>To understand if there are any specific tools in use</a:t>
            </a:r>
          </a:p>
          <a:p>
            <a:endParaRPr lang="en-US" noProof="0"/>
          </a:p>
          <a:p>
            <a:r>
              <a:rPr lang="en-US" noProof="0"/>
              <a:t>=========================</a:t>
            </a:r>
          </a:p>
          <a:p>
            <a:r>
              <a:rPr lang="en-US" b="1" noProof="0"/>
              <a:t>What we’ll do with this information?</a:t>
            </a:r>
          </a:p>
          <a:p>
            <a:pPr marL="171450" indent="-171450">
              <a:buFont typeface="Arial" panose="020B0604020202020204" pitchFamily="34" charset="0"/>
              <a:buChar char="•"/>
            </a:pPr>
            <a:r>
              <a:rPr lang="en-US" noProof="0"/>
              <a:t>If you are not using any tools, we can provide you suggestions followed by other customers</a:t>
            </a:r>
          </a:p>
          <a:p>
            <a:pPr marL="171450" indent="-171450">
              <a:buFont typeface="Arial" panose="020B0604020202020204" pitchFamily="34" charset="0"/>
              <a:buChar char="•"/>
            </a:pPr>
            <a:r>
              <a:rPr lang="en-US" noProof="0"/>
              <a:t>Provide you links to our tools:</a:t>
            </a:r>
          </a:p>
          <a:p>
            <a:pPr marL="0" indent="0">
              <a:buFont typeface="Arial" panose="020B0604020202020204" pitchFamily="34" charset="0"/>
              <a:buNone/>
            </a:pPr>
            <a:endParaRPr lang="en-US" noProof="0"/>
          </a:p>
          <a:p>
            <a:r>
              <a:rPr lang="en-US"/>
              <a:t>Easy Repro – Getting Started</a:t>
            </a:r>
          </a:p>
          <a:p>
            <a:r>
              <a:rPr lang="en-AU">
                <a:hlinkClick r:id="rId3"/>
              </a:rPr>
              <a:t>https://community.dynamics.com/crm/b/crminthefield/posts/test-automation-and-easyrepro-01---overview-and-getting-started</a:t>
            </a:r>
            <a:endParaRPr lang="en-US">
              <a:cs typeface="Calibri"/>
            </a:endParaRPr>
          </a:p>
          <a:p>
            <a:r>
              <a:rPr lang="en-US"/>
              <a:t> </a:t>
            </a:r>
            <a:endParaRPr lang="en-US">
              <a:cs typeface="Calibri"/>
            </a:endParaRPr>
          </a:p>
          <a:p>
            <a:r>
              <a:rPr lang="en-US"/>
              <a:t>Automated and Manual Testing with Azure Test Plan (DevOps) </a:t>
            </a:r>
          </a:p>
          <a:p>
            <a:r>
              <a:rPr lang="en-US">
                <a:hlinkClick r:id="rId4"/>
              </a:rPr>
              <a:t>https://www.youtube.com/watch?v=LF0hmSysWCg</a:t>
            </a:r>
            <a:endParaRPr lang="en-US"/>
          </a:p>
          <a:p>
            <a:endParaRPr lang="en-US">
              <a:cs typeface="Calibri"/>
            </a:endParaRPr>
          </a:p>
          <a:p>
            <a:endParaRPr lang="en-US">
              <a:cs typeface="Calibri"/>
            </a:endParaRPr>
          </a:p>
          <a:p>
            <a:r>
              <a:rPr lang="en-US" err="1">
                <a:cs typeface="Calibri"/>
              </a:rPr>
              <a:t>EasyRepro</a:t>
            </a:r>
            <a:r>
              <a:rPr lang="en-US">
                <a:cs typeface="Calibri"/>
              </a:rPr>
              <a:t> in 60 Seconds</a:t>
            </a:r>
          </a:p>
          <a:p>
            <a:r>
              <a:rPr lang="en-AU">
                <a:hlinkClick r:id="rId5"/>
              </a:rPr>
              <a:t>http://xrmenterprise.com/2020/03/easyrepro-in-60-seconds/</a:t>
            </a:r>
            <a:endParaRPr lang="en-US">
              <a:cs typeface="Calibri"/>
            </a:endParaRPr>
          </a:p>
          <a:p>
            <a:pPr marL="0" indent="0">
              <a:buFont typeface="Arial" panose="020B0604020202020204" pitchFamily="34" charset="0"/>
              <a:buNone/>
            </a:pPr>
            <a:endParaRPr lang="en-US" noProof="0"/>
          </a:p>
          <a:p>
            <a:endParaRPr lang="en-US" noProof="0"/>
          </a:p>
          <a:p>
            <a:r>
              <a:rPr lang="en-US" noProof="0"/>
              <a:t>=========================</a:t>
            </a:r>
          </a:p>
          <a:p>
            <a:r>
              <a:rPr lang="en-US" b="1" noProof="0"/>
              <a:t>FAQ:</a:t>
            </a:r>
          </a:p>
          <a:p>
            <a:endParaRPr lang="pt-PT"/>
          </a:p>
        </p:txBody>
      </p:sp>
      <p:sp>
        <p:nvSpPr>
          <p:cNvPr id="4" name="Slide Number Placeholder 3"/>
          <p:cNvSpPr>
            <a:spLocks noGrp="1"/>
          </p:cNvSpPr>
          <p:nvPr>
            <p:ph type="sldNum" sz="quarter" idx="5"/>
          </p:nvPr>
        </p:nvSpPr>
        <p:spPr/>
        <p:txBody>
          <a:bodyPr/>
          <a:lstStyle/>
          <a:p>
            <a:fld id="{820133BD-6629-D245-9461-799999F1C98F}" type="slidenum">
              <a:rPr lang="en-US" smtClean="0"/>
              <a:t>33</a:t>
            </a:fld>
            <a:endParaRPr lang="en-US"/>
          </a:p>
        </p:txBody>
      </p:sp>
    </p:spTree>
    <p:extLst>
      <p:ext uri="{BB962C8B-B14F-4D97-AF65-F5344CB8AC3E}">
        <p14:creationId xmlns:p14="http://schemas.microsoft.com/office/powerpoint/2010/main" val="594624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5"/>
          </p:nvPr>
        </p:nvSpPr>
        <p:spPr/>
        <p:txBody>
          <a:bodyPr/>
          <a:lstStyle/>
          <a:p>
            <a:fld id="{820133BD-6629-D245-9461-799999F1C98F}" type="slidenum">
              <a:rPr lang="en-US" smtClean="0"/>
              <a:t>34</a:t>
            </a:fld>
            <a:endParaRPr lang="en-US"/>
          </a:p>
        </p:txBody>
      </p:sp>
    </p:spTree>
    <p:extLst>
      <p:ext uri="{BB962C8B-B14F-4D97-AF65-F5344CB8AC3E}">
        <p14:creationId xmlns:p14="http://schemas.microsoft.com/office/powerpoint/2010/main" val="273628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21 1: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4</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6</a:t>
            </a:fld>
            <a:endParaRPr lang="en-US"/>
          </a:p>
        </p:txBody>
      </p:sp>
    </p:spTree>
    <p:extLst>
      <p:ext uri="{BB962C8B-B14F-4D97-AF65-F5344CB8AC3E}">
        <p14:creationId xmlns:p14="http://schemas.microsoft.com/office/powerpoint/2010/main" val="1849673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7</a:t>
            </a:fld>
            <a:endParaRPr lang="en-US"/>
          </a:p>
        </p:txBody>
      </p:sp>
    </p:spTree>
    <p:extLst>
      <p:ext uri="{BB962C8B-B14F-4D97-AF65-F5344CB8AC3E}">
        <p14:creationId xmlns:p14="http://schemas.microsoft.com/office/powerpoint/2010/main" val="2416759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974039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1891889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2</a:t>
            </a:fld>
            <a:endParaRPr lang="en-US"/>
          </a:p>
        </p:txBody>
      </p:sp>
    </p:spTree>
    <p:extLst>
      <p:ext uri="{BB962C8B-B14F-4D97-AF65-F5344CB8AC3E}">
        <p14:creationId xmlns:p14="http://schemas.microsoft.com/office/powerpoint/2010/main" val="1977770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3</a:t>
            </a:fld>
            <a:endParaRPr lang="en-US"/>
          </a:p>
        </p:txBody>
      </p:sp>
    </p:spTree>
    <p:extLst>
      <p:ext uri="{BB962C8B-B14F-4D97-AF65-F5344CB8AC3E}">
        <p14:creationId xmlns:p14="http://schemas.microsoft.com/office/powerpoint/2010/main" val="9066901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5.jpeg"/><Relationship Id="rId9"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2.jpe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3.jpe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4.jpeg"/><Relationship Id="rId5" Type="http://schemas.openxmlformats.org/officeDocument/2006/relationships/image" Target="../media/image6.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4" name="Picture 3">
            <a:extLst>
              <a:ext uri="{FF2B5EF4-FFF2-40B4-BE49-F238E27FC236}">
                <a16:creationId xmlns:a16="http://schemas.microsoft.com/office/drawing/2014/main" id="{D4B8B8BB-1A51-426E-BFB3-31A7B8AB78C5}"/>
              </a:ext>
            </a:extLst>
          </p:cNvPr>
          <p:cNvPicPr>
            <a:picLocks noChangeAspect="1"/>
          </p:cNvPicPr>
          <p:nvPr userDrawn="1"/>
        </p:nvPicPr>
        <p:blipFill>
          <a:blip r:embed="rId3"/>
          <a:stretch>
            <a:fillRect/>
          </a:stretch>
        </p:blipFill>
        <p:spPr>
          <a:xfrm>
            <a:off x="6096000" y="0"/>
            <a:ext cx="6096000" cy="6858000"/>
          </a:xfrm>
          <a:prstGeom prst="rect">
            <a:avLst/>
          </a:prstGeom>
        </p:spPr>
      </p:pic>
    </p:spTree>
    <p:extLst>
      <p:ext uri="{BB962C8B-B14F-4D97-AF65-F5344CB8AC3E}">
        <p14:creationId xmlns:p14="http://schemas.microsoft.com/office/powerpoint/2010/main" val="109586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54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ivider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04269"/>
            <a:ext cx="4597785" cy="849463"/>
          </a:xfrm>
          <a:noFill/>
        </p:spPr>
        <p:txBody>
          <a:bodyPr wrap="square" tIns="91440" bIns="91440" anchor="ctr" anchorCtr="0">
            <a:spAutoFit/>
          </a:bodyPr>
          <a:lstStyle>
            <a:lvl1pPr>
              <a:defRPr sz="4800" spc="-98" baseline="0">
                <a:solidFill>
                  <a:schemeClr val="bg1"/>
                </a:solidFill>
              </a:defRPr>
            </a:lvl1pPr>
          </a:lstStyle>
          <a:p>
            <a:r>
              <a:rPr lang="en-US"/>
              <a:t>Section title</a:t>
            </a:r>
          </a:p>
        </p:txBody>
      </p:sp>
      <p:pic>
        <p:nvPicPr>
          <p:cNvPr id="3" name="Picture 2">
            <a:extLst>
              <a:ext uri="{FF2B5EF4-FFF2-40B4-BE49-F238E27FC236}">
                <a16:creationId xmlns:a16="http://schemas.microsoft.com/office/drawing/2014/main" id="{51D391B2-3CAF-40D8-85A6-FF13AB28D531}"/>
              </a:ext>
            </a:extLst>
          </p:cNvPr>
          <p:cNvPicPr>
            <a:picLocks noChangeAspect="1"/>
          </p:cNvPicPr>
          <p:nvPr userDrawn="1"/>
        </p:nvPicPr>
        <p:blipFill>
          <a:blip r:embed="rId2"/>
          <a:stretch>
            <a:fillRect/>
          </a:stretch>
        </p:blipFill>
        <p:spPr>
          <a:xfrm>
            <a:off x="4864608" y="0"/>
            <a:ext cx="7327392" cy="6858000"/>
          </a:xfrm>
          <a:prstGeom prst="rect">
            <a:avLst/>
          </a:prstGeom>
        </p:spPr>
      </p:pic>
    </p:spTree>
    <p:extLst>
      <p:ext uri="{BB962C8B-B14F-4D97-AF65-F5344CB8AC3E}">
        <p14:creationId xmlns:p14="http://schemas.microsoft.com/office/powerpoint/2010/main" val="3942002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9860598F-5489-4F0B-B9DA-B1DC8ECA311B}"/>
              </a:ext>
            </a:extLst>
          </p:cNvPr>
          <p:cNvSpPr>
            <a:spLocks noGrp="1"/>
          </p:cNvSpPr>
          <p:nvPr>
            <p:ph sz="quarter" idx="10" hasCustomPrompt="1"/>
          </p:nvPr>
        </p:nvSpPr>
        <p:spPr>
          <a:xfrm>
            <a:off x="832916" y="1262216"/>
            <a:ext cx="10901882" cy="406265"/>
          </a:xfrm>
        </p:spPr>
        <p:txBody>
          <a:bodyPr/>
          <a:lstStyle>
            <a:lvl1pPr marL="0" indent="0">
              <a:buNone/>
              <a:defRPr sz="1600"/>
            </a:lvl1pPr>
            <a:lvl2pPr marL="336145" indent="0">
              <a:buNone/>
              <a:defRPr/>
            </a:lvl2pPr>
          </a:lstStyle>
          <a:p>
            <a:pPr lvl="0"/>
            <a:r>
              <a:rPr lang="en-US"/>
              <a:t>Review Item</a:t>
            </a:r>
          </a:p>
        </p:txBody>
      </p:sp>
      <p:sp>
        <p:nvSpPr>
          <p:cNvPr id="4" name="Title 1">
            <a:extLst>
              <a:ext uri="{FF2B5EF4-FFF2-40B4-BE49-F238E27FC236}">
                <a16:creationId xmlns:a16="http://schemas.microsoft.com/office/drawing/2014/main" id="{C2C1733E-B422-45C8-8755-B39BEA08850B}"/>
              </a:ext>
            </a:extLst>
          </p:cNvPr>
          <p:cNvSpPr>
            <a:spLocks noGrp="1"/>
          </p:cNvSpPr>
          <p:nvPr>
            <p:ph type="title" hasCustomPrompt="1"/>
          </p:nvPr>
        </p:nvSpPr>
        <p:spPr>
          <a:xfrm>
            <a:off x="269240" y="289511"/>
            <a:ext cx="11655840" cy="899665"/>
          </a:xfrm>
        </p:spPr>
        <p:txBody>
          <a:bodyPr/>
          <a:lstStyle>
            <a:lvl1pPr>
              <a:defRPr/>
            </a:lvl1pPr>
          </a:lstStyle>
          <a:p>
            <a:r>
              <a:rPr lang="en-GB">
                <a:highlight>
                  <a:srgbClr val="FFFF00"/>
                </a:highlight>
              </a:rPr>
              <a:t>REVIEW TOPIC</a:t>
            </a:r>
          </a:p>
        </p:txBody>
      </p:sp>
      <p:grpSp>
        <p:nvGrpSpPr>
          <p:cNvPr id="8" name="Group 7">
            <a:extLst>
              <a:ext uri="{FF2B5EF4-FFF2-40B4-BE49-F238E27FC236}">
                <a16:creationId xmlns:a16="http://schemas.microsoft.com/office/drawing/2014/main" id="{E38D5D52-C2AC-4D22-8669-793E54461611}"/>
              </a:ext>
            </a:extLst>
          </p:cNvPr>
          <p:cNvGrpSpPr/>
          <p:nvPr/>
        </p:nvGrpSpPr>
        <p:grpSpPr>
          <a:xfrm>
            <a:off x="457200" y="1287313"/>
            <a:ext cx="326112" cy="326112"/>
            <a:chOff x="115497" y="1864737"/>
            <a:chExt cx="461744" cy="461744"/>
          </a:xfrm>
          <a:solidFill>
            <a:schemeClr val="tx2"/>
          </a:solidFill>
        </p:grpSpPr>
        <p:sp>
          <p:nvSpPr>
            <p:cNvPr id="9" name="Freeform: Shape 8">
              <a:extLst>
                <a:ext uri="{FF2B5EF4-FFF2-40B4-BE49-F238E27FC236}">
                  <a16:creationId xmlns:a16="http://schemas.microsoft.com/office/drawing/2014/main" id="{B0835B06-2B3C-4CBA-8C30-D2BA7BF6443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70021638-8B44-4082-87EC-45BA11C3277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 name="Rectangle 10">
            <a:extLst>
              <a:ext uri="{FF2B5EF4-FFF2-40B4-BE49-F238E27FC236}">
                <a16:creationId xmlns:a16="http://schemas.microsoft.com/office/drawing/2014/main" id="{18C2EFA9-917C-4222-9A71-16F8B08FDF2E}"/>
              </a:ext>
            </a:extLst>
          </p:cNvPr>
          <p:cNvSpPr/>
          <p:nvPr userDrawn="1"/>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sp>
        <p:nvSpPr>
          <p:cNvPr id="12" name="Rectangle 11">
            <a:extLst>
              <a:ext uri="{FF2B5EF4-FFF2-40B4-BE49-F238E27FC236}">
                <a16:creationId xmlns:a16="http://schemas.microsoft.com/office/drawing/2014/main" id="{4942C1D3-04C3-475F-BA4B-B00CCB1BE2EE}"/>
              </a:ext>
            </a:extLst>
          </p:cNvPr>
          <p:cNvSpPr/>
          <p:nvPr userDrawn="1"/>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3523634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4949371" y="2277275"/>
            <a:ext cx="2293258" cy="2303450"/>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2236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8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4903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54415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4470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68978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pic>
        <p:nvPicPr>
          <p:cNvPr id="12" name="Picture 11" descr="Two people standing in front of a window&#10;&#10;Description automatically generated">
            <a:extLst>
              <a:ext uri="{FF2B5EF4-FFF2-40B4-BE49-F238E27FC236}">
                <a16:creationId xmlns:a16="http://schemas.microsoft.com/office/drawing/2014/main" id="{F95A9D7D-24EC-493F-9813-9AD72ADD53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6587" t="4933" b="4933"/>
          <a:stretch/>
        </p:blipFill>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19763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REVIEW ITEM</a:t>
            </a:r>
          </a:p>
        </p:txBody>
      </p:sp>
    </p:spTree>
    <p:extLst>
      <p:ext uri="{BB962C8B-B14F-4D97-AF65-F5344CB8AC3E}">
        <p14:creationId xmlns:p14="http://schemas.microsoft.com/office/powerpoint/2010/main" val="3241177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23257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C7DF7-1608-4A0B-B322-01106812F7D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38A6C31-0896-4770-A9EB-31A147AA6F4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D1597EB-E4C9-4A23-9CC0-27D12CE658C1}"/>
              </a:ext>
            </a:extLst>
          </p:cNvPr>
          <p:cNvSpPr>
            <a:spLocks noGrp="1"/>
          </p:cNvSpPr>
          <p:nvPr>
            <p:ph type="dt" sz="half" idx="10"/>
          </p:nvPr>
        </p:nvSpPr>
        <p:spPr/>
        <p:txBody>
          <a:bodyPr/>
          <a:lstStyle/>
          <a:p>
            <a:fld id="{3486BDEF-4AC0-4574-92A4-B1E39340FCA7}" type="datetimeFigureOut">
              <a:rPr lang="en-AU" smtClean="0"/>
              <a:t>7/07/2021</a:t>
            </a:fld>
            <a:endParaRPr lang="en-AU"/>
          </a:p>
        </p:txBody>
      </p:sp>
      <p:sp>
        <p:nvSpPr>
          <p:cNvPr id="5" name="Footer Placeholder 4">
            <a:extLst>
              <a:ext uri="{FF2B5EF4-FFF2-40B4-BE49-F238E27FC236}">
                <a16:creationId xmlns:a16="http://schemas.microsoft.com/office/drawing/2014/main" id="{F985C517-0B99-4323-8086-FF72D7259B2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CFFF030-FCB4-4B85-9D61-600855EBADC5}"/>
              </a:ext>
            </a:extLst>
          </p:cNvPr>
          <p:cNvSpPr>
            <a:spLocks noGrp="1"/>
          </p:cNvSpPr>
          <p:nvPr>
            <p:ph type="sldNum" sz="quarter" idx="12"/>
          </p:nvPr>
        </p:nvSpPr>
        <p:spPr/>
        <p:txBody>
          <a:bodyPr/>
          <a:lstStyle/>
          <a:p>
            <a:fld id="{65B60125-6808-44CD-8D9C-2EBBDE3C06D6}" type="slidenum">
              <a:rPr lang="en-AU" smtClean="0"/>
              <a:t>‹#›</a:t>
            </a:fld>
            <a:endParaRPr lang="en-AU"/>
          </a:p>
        </p:txBody>
      </p:sp>
    </p:spTree>
    <p:extLst>
      <p:ext uri="{BB962C8B-B14F-4D97-AF65-F5344CB8AC3E}">
        <p14:creationId xmlns:p14="http://schemas.microsoft.com/office/powerpoint/2010/main" val="3875869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8040F-D52E-4BBF-B0BC-0750D95E0C4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2BEE28B1-7353-4BCF-86E4-A1F00A9E4D0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0CDBDD43-8E9A-455E-9C95-AD6827C36C6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480A2754-27B4-4AE7-87D8-091F3FC26E5B}"/>
              </a:ext>
            </a:extLst>
          </p:cNvPr>
          <p:cNvSpPr>
            <a:spLocks noGrp="1"/>
          </p:cNvSpPr>
          <p:nvPr>
            <p:ph type="dt" sz="half" idx="10"/>
          </p:nvPr>
        </p:nvSpPr>
        <p:spPr/>
        <p:txBody>
          <a:bodyPr/>
          <a:lstStyle/>
          <a:p>
            <a:fld id="{3486BDEF-4AC0-4574-92A4-B1E39340FCA7}" type="datetimeFigureOut">
              <a:rPr lang="en-AU" smtClean="0"/>
              <a:t>7/07/2021</a:t>
            </a:fld>
            <a:endParaRPr lang="en-AU"/>
          </a:p>
        </p:txBody>
      </p:sp>
      <p:sp>
        <p:nvSpPr>
          <p:cNvPr id="6" name="Footer Placeholder 5">
            <a:extLst>
              <a:ext uri="{FF2B5EF4-FFF2-40B4-BE49-F238E27FC236}">
                <a16:creationId xmlns:a16="http://schemas.microsoft.com/office/drawing/2014/main" id="{37497B5C-960B-41F4-98A9-D34562D26D3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991B55D4-46CE-4C77-9E55-439DF4D4366D}"/>
              </a:ext>
            </a:extLst>
          </p:cNvPr>
          <p:cNvSpPr>
            <a:spLocks noGrp="1"/>
          </p:cNvSpPr>
          <p:nvPr>
            <p:ph type="sldNum" sz="quarter" idx="12"/>
          </p:nvPr>
        </p:nvSpPr>
        <p:spPr/>
        <p:txBody>
          <a:bodyPr/>
          <a:lstStyle/>
          <a:p>
            <a:fld id="{65B60125-6808-44CD-8D9C-2EBBDE3C06D6}" type="slidenum">
              <a:rPr lang="en-AU" smtClean="0"/>
              <a:t>‹#›</a:t>
            </a:fld>
            <a:endParaRPr lang="en-AU"/>
          </a:p>
        </p:txBody>
      </p:sp>
    </p:spTree>
    <p:extLst>
      <p:ext uri="{BB962C8B-B14F-4D97-AF65-F5344CB8AC3E}">
        <p14:creationId xmlns:p14="http://schemas.microsoft.com/office/powerpoint/2010/main" val="2275524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0FF0466-D2C6-42B6-BDAC-48EF1862E536}"/>
              </a:ext>
            </a:extLst>
          </p:cNvPr>
          <p:cNvPicPr>
            <a:picLocks noChangeAspect="1"/>
          </p:cNvPicPr>
          <p:nvPr userDrawn="1"/>
        </p:nvPicPr>
        <p:blipFill rotWithShape="1">
          <a:blip r:embed="rId4"/>
          <a:srcRect l="235" t="145" r="6865" b="21716"/>
          <a:stretch/>
        </p:blipFill>
        <p:spPr>
          <a:xfrm>
            <a:off x="0" y="0"/>
            <a:ext cx="12192000" cy="6858000"/>
          </a:xfrm>
          <a:custGeom>
            <a:avLst/>
            <a:gdLst>
              <a:gd name="connsiteX0" fmla="*/ 0 w 12192000"/>
              <a:gd name="connsiteY0" fmla="*/ 0 h 6833780"/>
              <a:gd name="connsiteX1" fmla="*/ 12192000 w 12192000"/>
              <a:gd name="connsiteY1" fmla="*/ 0 h 6833780"/>
              <a:gd name="connsiteX2" fmla="*/ 12192000 w 12192000"/>
              <a:gd name="connsiteY2" fmla="*/ 6833780 h 6833780"/>
              <a:gd name="connsiteX3" fmla="*/ 0 w 12192000"/>
              <a:gd name="connsiteY3" fmla="*/ 6833780 h 6833780"/>
            </a:gdLst>
            <a:ahLst/>
            <a:cxnLst>
              <a:cxn ang="0">
                <a:pos x="connsiteX0" y="connsiteY0"/>
              </a:cxn>
              <a:cxn ang="0">
                <a:pos x="connsiteX1" y="connsiteY1"/>
              </a:cxn>
              <a:cxn ang="0">
                <a:pos x="connsiteX2" y="connsiteY2"/>
              </a:cxn>
              <a:cxn ang="0">
                <a:pos x="connsiteX3" y="connsiteY3"/>
              </a:cxn>
            </a:cxnLst>
            <a:rect l="l" t="t" r="r" b="b"/>
            <a:pathLst>
              <a:path w="12192000" h="6833780">
                <a:moveTo>
                  <a:pt x="0" y="0"/>
                </a:moveTo>
                <a:lnTo>
                  <a:pt x="12192000" y="0"/>
                </a:lnTo>
                <a:lnTo>
                  <a:pt x="12192000" y="6833780"/>
                </a:lnTo>
                <a:lnTo>
                  <a:pt x="0" y="683378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1"/>
            </p:custDataLst>
            <p:extLst>
              <p:ext uri="{D42A27DB-BD31-4B8C-83A1-F6EECF244321}">
                <p14:modId xmlns:p14="http://schemas.microsoft.com/office/powerpoint/2010/main" val="329436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9"/>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445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a:extLst>
              <a:ext uri="{FF2B5EF4-FFF2-40B4-BE49-F238E27FC236}">
                <a16:creationId xmlns:a16="http://schemas.microsoft.com/office/drawing/2014/main" id="{EFFA913E-5670-4432-8DB8-3991489D0C32}"/>
              </a:ext>
            </a:extLst>
          </p:cNvPr>
          <p:cNvPicPr>
            <a:picLocks noChangeAspect="1"/>
          </p:cNvPicPr>
          <p:nvPr userDrawn="1"/>
        </p:nvPicPr>
        <p:blipFill>
          <a:blip r:embed="rId3"/>
          <a:stretch>
            <a:fillRect/>
          </a:stretch>
        </p:blipFill>
        <p:spPr>
          <a:xfrm>
            <a:off x="6096000" y="0"/>
            <a:ext cx="6096000" cy="6858000"/>
          </a:xfrm>
          <a:prstGeom prst="rect">
            <a:avLst/>
          </a:prstGeom>
        </p:spPr>
      </p:pic>
    </p:spTree>
    <p:extLst>
      <p:ext uri="{BB962C8B-B14F-4D97-AF65-F5344CB8AC3E}">
        <p14:creationId xmlns:p14="http://schemas.microsoft.com/office/powerpoint/2010/main" val="2598775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a:extLst>
              <a:ext uri="{FF2B5EF4-FFF2-40B4-BE49-F238E27FC236}">
                <a16:creationId xmlns:a16="http://schemas.microsoft.com/office/drawing/2014/main" id="{7F5E5C7B-6BA1-4B63-BC45-18139250E052}"/>
              </a:ext>
            </a:extLst>
          </p:cNvPr>
          <p:cNvPicPr>
            <a:picLocks noChangeAspect="1"/>
          </p:cNvPicPr>
          <p:nvPr userDrawn="1"/>
        </p:nvPicPr>
        <p:blipFill>
          <a:blip r:embed="rId3"/>
          <a:stretch>
            <a:fillRect/>
          </a:stretch>
        </p:blipFill>
        <p:spPr>
          <a:xfrm>
            <a:off x="6119858" y="1974681"/>
            <a:ext cx="6072142" cy="4883319"/>
          </a:xfrm>
          <a:prstGeom prst="rect">
            <a:avLst/>
          </a:prstGeom>
        </p:spPr>
      </p:pic>
    </p:spTree>
    <p:extLst>
      <p:ext uri="{BB962C8B-B14F-4D97-AF65-F5344CB8AC3E}">
        <p14:creationId xmlns:p14="http://schemas.microsoft.com/office/powerpoint/2010/main" val="318352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3575E9-6FFD-45A4-904B-DD801758DAC5}"/>
              </a:ext>
            </a:extLst>
          </p:cNvPr>
          <p:cNvGraphicFramePr>
            <a:graphicFrameLocks noChangeAspect="1"/>
          </p:cNvGraphicFramePr>
          <p:nvPr userDrawn="1">
            <p:custDataLst>
              <p:tags r:id="rId1"/>
            </p:custDataLst>
            <p:extLst>
              <p:ext uri="{D42A27DB-BD31-4B8C-83A1-F6EECF244321}">
                <p14:modId xmlns:p14="http://schemas.microsoft.com/office/powerpoint/2010/main" val="2167518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63575E9-6FFD-45A4-904B-DD801758DA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630770-613D-430A-91F6-B3C6A8A6A3D8}"/>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0" name="Picture 9">
            <a:extLst>
              <a:ext uri="{FF2B5EF4-FFF2-40B4-BE49-F238E27FC236}">
                <a16:creationId xmlns:a16="http://schemas.microsoft.com/office/drawing/2014/main" id="{BE26799B-3BC1-4CF3-93F4-FE5C80115A4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0"/>
            <a:ext cx="12192000" cy="6858000"/>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4534927"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48214" y="470069"/>
            <a:ext cx="1648360" cy="353933"/>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52135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853B5B-9D6C-4055-BBA6-94E4E3AD08BB}"/>
              </a:ext>
            </a:extLst>
          </p:cNvPr>
          <p:cNvGraphicFramePr>
            <a:graphicFrameLocks noChangeAspect="1"/>
          </p:cNvGraphicFramePr>
          <p:nvPr userDrawn="1">
            <p:custDataLst>
              <p:tags r:id="rId1"/>
            </p:custDataLst>
            <p:extLst>
              <p:ext uri="{D42A27DB-BD31-4B8C-83A1-F6EECF244321}">
                <p14:modId xmlns:p14="http://schemas.microsoft.com/office/powerpoint/2010/main" val="1596149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20853B5B-9D6C-4055-BBA6-94E4E3AD08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20F15A-3D49-4495-8A28-2E266DDC6A3F}"/>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3" name="Picture 2">
            <a:extLst>
              <a:ext uri="{FF2B5EF4-FFF2-40B4-BE49-F238E27FC236}">
                <a16:creationId xmlns:a16="http://schemas.microsoft.com/office/drawing/2014/main" id="{FAB32E19-C3B5-4519-A699-1E1284B15DEE}"/>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271104" y="4835277"/>
            <a:ext cx="7318734"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7320536"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48214" y="470069"/>
            <a:ext cx="1648360" cy="353933"/>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25714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3166DB-1941-4CE0-BFBB-DD6106C32ECA}"/>
              </a:ext>
            </a:extLst>
          </p:cNvPr>
          <p:cNvGraphicFramePr>
            <a:graphicFrameLocks noChangeAspect="1"/>
          </p:cNvGraphicFramePr>
          <p:nvPr userDrawn="1">
            <p:custDataLst>
              <p:tags r:id="rId1"/>
            </p:custDataLst>
            <p:extLst>
              <p:ext uri="{D42A27DB-BD31-4B8C-83A1-F6EECF244321}">
                <p14:modId xmlns:p14="http://schemas.microsoft.com/office/powerpoint/2010/main" val="2200425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63166DB-1941-4CE0-BFBB-DD6106C32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2130197-78EB-4F8B-A316-8A26ACFCD6A9}"/>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54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2" name="Picture 1">
            <a:extLst>
              <a:ext uri="{FF2B5EF4-FFF2-40B4-BE49-F238E27FC236}">
                <a16:creationId xmlns:a16="http://schemas.microsoft.com/office/drawing/2014/main" id="{E845B631-B959-48BF-B1BC-7E42B86029E9}"/>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271104" y="3961753"/>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9598598" cy="2072245"/>
          </a:xfrm>
          <a:noFill/>
        </p:spPr>
        <p:txBody>
          <a:bodyPr lIns="146304" tIns="91440" rIns="146304" bIns="91440" anchor="b" anchorCtr="0"/>
          <a:lstStyle>
            <a:lvl1pPr>
              <a:defRPr sz="5400" spc="-98"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48214" y="470069"/>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43588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F91A9F-B52D-4031-B15D-3675876B7430}"/>
              </a:ext>
            </a:extLst>
          </p:cNvPr>
          <p:cNvGraphicFramePr>
            <a:graphicFrameLocks noChangeAspect="1"/>
          </p:cNvGraphicFramePr>
          <p:nvPr userDrawn="1">
            <p:custDataLst>
              <p:tags r:id="rId1"/>
            </p:custDataLst>
            <p:extLst>
              <p:ext uri="{D42A27DB-BD31-4B8C-83A1-F6EECF244321}">
                <p14:modId xmlns:p14="http://schemas.microsoft.com/office/powerpoint/2010/main" val="137376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BF91A9F-B52D-4031-B15D-3675876B74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5C2B0-218C-4F83-A309-3E6711259137}"/>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2" name="Picture 1">
            <a:extLst>
              <a:ext uri="{FF2B5EF4-FFF2-40B4-BE49-F238E27FC236}">
                <a16:creationId xmlns:a16="http://schemas.microsoft.com/office/drawing/2014/main" id="{88FB40FF-AE6B-4831-98CA-9E3F6BB545C8}"/>
              </a:ext>
            </a:extLst>
          </p:cNvPr>
          <p:cNvPicPr>
            <a:picLocks noChangeAspect="1"/>
          </p:cNvPicPr>
          <p:nvPr userDrawn="1"/>
        </p:nvPicPr>
        <p:blipFill>
          <a:blip r:embed="rId6"/>
          <a:stretch>
            <a:fillRect/>
          </a:stretch>
        </p:blipFill>
        <p:spPr>
          <a:xfrm>
            <a:off x="0" y="8551"/>
            <a:ext cx="12192000" cy="6840898"/>
          </a:xfrm>
          <a:prstGeom prst="rect">
            <a:avLst/>
          </a:prstGeom>
        </p:spPr>
      </p:pic>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5826698" cy="1738137"/>
          </a:xfrm>
          <a:noFill/>
        </p:spPr>
        <p:txBody>
          <a:bodyPr lIns="146304" tIns="91440" rIns="146304" bIns="91440" anchor="b" anchorCtr="0"/>
          <a:lstStyle>
            <a:lvl1pPr>
              <a:defRPr sz="4800" spc="-98"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48214" y="470069"/>
            <a:ext cx="1648360" cy="353933"/>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95730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042168" y="2339070"/>
            <a:ext cx="5409049" cy="730911"/>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25"/>
          <a:stretch>
            <a:fillRect/>
          </a:stretch>
        </p:blipFill>
        <p:spPr>
          <a:xfrm>
            <a:off x="12279377" y="189356"/>
            <a:ext cx="1203358" cy="5903533"/>
          </a:xfrm>
          <a:prstGeom prst="rect">
            <a:avLst/>
          </a:prstGeom>
        </p:spPr>
      </p:pic>
      <p:sp>
        <p:nvSpPr>
          <p:cNvPr id="3" name="MSIPCMContentMarking" descr="{&quot;HashCode&quot;:-1634785317,&quot;Placement&quot;:&quot;Footer&quot;}">
            <a:extLst>
              <a:ext uri="{FF2B5EF4-FFF2-40B4-BE49-F238E27FC236}">
                <a16:creationId xmlns:a16="http://schemas.microsoft.com/office/drawing/2014/main" id="{841A1523-1A63-43B7-B608-6A33A0622BF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661" r:id="rId1"/>
    <p:sldLayoutId id="2147483706" r:id="rId2"/>
    <p:sldLayoutId id="2147483703" r:id="rId3"/>
    <p:sldLayoutId id="2147483662" r:id="rId4"/>
    <p:sldLayoutId id="2147483663" r:id="rId5"/>
    <p:sldLayoutId id="2147483664" r:id="rId6"/>
    <p:sldLayoutId id="2147483665" r:id="rId7"/>
    <p:sldLayoutId id="2147483666" r:id="rId8"/>
    <p:sldLayoutId id="2147483667" r:id="rId9"/>
    <p:sldLayoutId id="2147483671" r:id="rId10"/>
    <p:sldLayoutId id="2147483674" r:id="rId11"/>
    <p:sldLayoutId id="2147483679" r:id="rId12"/>
    <p:sldLayoutId id="2147483696" r:id="rId13"/>
    <p:sldLayoutId id="2147483680" r:id="rId14"/>
    <p:sldLayoutId id="2147483681" r:id="rId15"/>
    <p:sldLayoutId id="2147483682" r:id="rId16"/>
    <p:sldLayoutId id="2147483683" r:id="rId17"/>
    <p:sldLayoutId id="2147483684" r:id="rId18"/>
    <p:sldLayoutId id="2147483685" r:id="rId19"/>
    <p:sldLayoutId id="2147483686" r:id="rId20"/>
    <p:sldLayoutId id="2147483702" r:id="rId21"/>
    <p:sldLayoutId id="2147483707" r:id="rId22"/>
    <p:sldLayoutId id="2147483708"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9062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1" name="Title 1">
            <a:extLst>
              <a:ext uri="{FF2B5EF4-FFF2-40B4-BE49-F238E27FC236}">
                <a16:creationId xmlns:a16="http://schemas.microsoft.com/office/drawing/2014/main" id="{E5BCFD79-ACCF-4415-ABDE-04E18E58FD42}"/>
              </a:ext>
            </a:extLst>
          </p:cNvPr>
          <p:cNvSpPr txBox="1">
            <a:spLocks noGrp="1"/>
          </p:cNvSpPr>
          <p:nvPr>
            <p:ph type="title" idx="4294967295"/>
          </p:nvPr>
        </p:nvSpPr>
        <p:spPr bwMode="auto">
          <a:xfrm>
            <a:off x="269303" y="1436913"/>
            <a:ext cx="5237645" cy="2433979"/>
          </a:xfrm>
          <a:prstGeom prst="rect">
            <a:avLst/>
          </a:prstGeom>
          <a:noFill/>
          <a:ln>
            <a:noFill/>
            <a:prstDash/>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800" b="0" kern="1200" cap="none" spc="-98"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200" b="0" i="0" u="none" strike="noStrike" kern="1200" cap="none" spc="-98" normalizeH="0" baseline="0" noProof="0" dirty="0">
                <a:ln w="3175">
                  <a:noFill/>
                </a:ln>
                <a:solidFill>
                  <a:schemeClr val="bg1"/>
                </a:solidFill>
                <a:effectLst/>
                <a:uLnTx/>
                <a:uFillTx/>
                <a:latin typeface="+mj-lt"/>
                <a:ea typeface="+mn-ea"/>
                <a:cs typeface="Segoe UI" pitchFamily="34" charset="0"/>
              </a:rPr>
              <a:t>FastTrack for  Dynamics 365</a:t>
            </a:r>
          </a:p>
        </p:txBody>
      </p:sp>
      <p:sp>
        <p:nvSpPr>
          <p:cNvPr id="12" name="Text Placeholder 2">
            <a:extLst>
              <a:ext uri="{FF2B5EF4-FFF2-40B4-BE49-F238E27FC236}">
                <a16:creationId xmlns:a16="http://schemas.microsoft.com/office/drawing/2014/main" id="{48E052C0-54A6-4E53-A82E-17201AAB42C3}"/>
              </a:ext>
            </a:extLst>
          </p:cNvPr>
          <p:cNvSpPr>
            <a:spLocks noGrp="1"/>
          </p:cNvSpPr>
          <p:nvPr>
            <p:ph type="body" sz="quarter" idx="14"/>
          </p:nvPr>
        </p:nvSpPr>
        <p:spPr>
          <a:xfrm>
            <a:off x="267684" y="3927231"/>
            <a:ext cx="4651558" cy="715107"/>
          </a:xfrm>
        </p:spPr>
        <p:txBody>
          <a:bodyPr/>
          <a:lstStyle/>
          <a:p>
            <a:r>
              <a:rPr lang="en-US" sz="3000">
                <a:latin typeface="Segoe UI Semibold" panose="020B0702040204020203" pitchFamily="34" charset="0"/>
              </a:rPr>
              <a:t>Test Strategy Workshop</a:t>
            </a:r>
          </a:p>
        </p:txBody>
      </p:sp>
      <p:sp>
        <p:nvSpPr>
          <p:cNvPr id="13" name="Text Placeholder 2">
            <a:extLst>
              <a:ext uri="{FF2B5EF4-FFF2-40B4-BE49-F238E27FC236}">
                <a16:creationId xmlns:a16="http://schemas.microsoft.com/office/drawing/2014/main" id="{5865844A-B378-4D24-B7F0-B5D3709F5455}"/>
              </a:ext>
            </a:extLst>
          </p:cNvPr>
          <p:cNvSpPr txBox="1">
            <a:spLocks/>
          </p:cNvSpPr>
          <p:nvPr/>
        </p:nvSpPr>
        <p:spPr bwMode="auto">
          <a:xfrm>
            <a:off x="267683" y="5308478"/>
            <a:ext cx="3999517" cy="949569"/>
          </a:xfrm>
          <a:prstGeom prst="rect">
            <a:avLst/>
          </a:prstGeom>
        </p:spPr>
        <p:txBody>
          <a:bodyPr vert="horz" wrap="square" lIns="146304" tIns="109728" rIns="146304" bIns="109728" rtlCol="0">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200" kern="1200" spc="0" baseline="0">
                <a:solidFill>
                  <a:schemeClr val="bg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cs typeface="Segoe UI Light" panose="020B0502040204020203" pitchFamily="34" charset="0"/>
              </a:rPr>
              <a:t>&lt;Name&gt;</a:t>
            </a:r>
          </a:p>
          <a:p>
            <a:r>
              <a:rPr lang="en-US" sz="2400">
                <a:cs typeface="Segoe UI Light" panose="020B0502040204020203" pitchFamily="34" charset="0"/>
              </a:rPr>
              <a:t>R&amp;D Solution Architect</a:t>
            </a:r>
          </a:p>
          <a:p>
            <a:endParaRPr lang="en-US" sz="2400">
              <a:cs typeface="Segoe UI Light" panose="020B0502040204020203" pitchFamily="34" charset="0"/>
            </a:endParaRPr>
          </a:p>
        </p:txBody>
      </p:sp>
    </p:spTree>
    <p:extLst>
      <p:ext uri="{BB962C8B-B14F-4D97-AF65-F5344CB8AC3E}">
        <p14:creationId xmlns:p14="http://schemas.microsoft.com/office/powerpoint/2010/main" val="3300356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Test Phases and Test Types</a:t>
            </a:r>
          </a:p>
        </p:txBody>
      </p:sp>
    </p:spTree>
    <p:extLst>
      <p:ext uri="{BB962C8B-B14F-4D97-AF65-F5344CB8AC3E}">
        <p14:creationId xmlns:p14="http://schemas.microsoft.com/office/powerpoint/2010/main" val="35563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ing types and phases</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800">
                  <a:solidFill>
                    <a:schemeClr val="tx1"/>
                  </a:solidFill>
                  <a:effectLst/>
                  <a:latin typeface="Segoe UI" panose="020B0502040204020203" pitchFamily="34" charset="0"/>
                </a:rPr>
                <a:t>What are the key test phases (SIT, UAT etc), and what are the related milestones?</a:t>
              </a:r>
              <a:endParaRPr lang="en-GB" sz="1800">
                <a:solidFill>
                  <a:schemeClr val="tx1"/>
                </a:solidFill>
                <a:effectLst/>
                <a:latin typeface="Arial" panose="020B0604020202020204" pitchFamily="34" charset="0"/>
              </a:endParaRP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82002" y="1783166"/>
            <a:ext cx="11277600" cy="18122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22" name="Group 21">
            <a:extLst>
              <a:ext uri="{FF2B5EF4-FFF2-40B4-BE49-F238E27FC236}">
                <a16:creationId xmlns:a16="http://schemas.microsoft.com/office/drawing/2014/main" id="{E7AAE775-4DA6-4987-863A-6C8999E1BAB8}"/>
              </a:ext>
              <a:ext uri="{C183D7F6-B498-43B3-948B-1728B52AA6E4}">
                <adec:decorative xmlns:adec="http://schemas.microsoft.com/office/drawing/2017/decorative" val="1"/>
              </a:ext>
            </a:extLst>
          </p:cNvPr>
          <p:cNvGrpSpPr/>
          <p:nvPr/>
        </p:nvGrpSpPr>
        <p:grpSpPr>
          <a:xfrm>
            <a:off x="457200" y="3887087"/>
            <a:ext cx="11302402" cy="338554"/>
            <a:chOff x="457200" y="5787537"/>
            <a:chExt cx="11302402" cy="338554"/>
          </a:xfrm>
        </p:grpSpPr>
        <p:sp>
          <p:nvSpPr>
            <p:cNvPr id="23" name="Rectangle 22">
              <a:extLst>
                <a:ext uri="{FF2B5EF4-FFF2-40B4-BE49-F238E27FC236}">
                  <a16:creationId xmlns:a16="http://schemas.microsoft.com/office/drawing/2014/main" id="{22A46BAD-659F-458D-A07B-9339075E8FFB}"/>
                </a:ext>
              </a:extLst>
            </p:cNvPr>
            <p:cNvSpPr/>
            <p:nvPr/>
          </p:nvSpPr>
          <p:spPr>
            <a:xfrm>
              <a:off x="506805" y="5787537"/>
              <a:ext cx="1125279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tIns="45720" rIns="91440" bIns="45720" rtlCol="0" anchor="ctr">
              <a:spAutoFit/>
            </a:bodyPr>
            <a:lstStyle/>
            <a:p>
              <a:r>
                <a:rPr lang="en-US" sz="1600">
                  <a:solidFill>
                    <a:schemeClr val="tx1"/>
                  </a:solidFill>
                </a:rPr>
                <a:t>List any other tests, functional and non-functional (unit testing, performance testing, data testing </a:t>
              </a:r>
              <a:r>
                <a:rPr lang="en-US" sz="1600" err="1">
                  <a:solidFill>
                    <a:schemeClr val="tx1"/>
                  </a:solidFill>
                </a:rPr>
                <a:t>etc</a:t>
              </a:r>
              <a:r>
                <a:rPr lang="en-US" sz="1600">
                  <a:solidFill>
                    <a:schemeClr val="tx1"/>
                  </a:solidFill>
                </a:rPr>
                <a:t>) that are planned</a:t>
              </a:r>
            </a:p>
          </p:txBody>
        </p:sp>
        <p:grpSp>
          <p:nvGrpSpPr>
            <p:cNvPr id="24" name="Group 23">
              <a:extLst>
                <a:ext uri="{FF2B5EF4-FFF2-40B4-BE49-F238E27FC236}">
                  <a16:creationId xmlns:a16="http://schemas.microsoft.com/office/drawing/2014/main" id="{39E6AA40-1904-4941-8E7F-0215DBD28CC2}"/>
                </a:ext>
              </a:extLst>
            </p:cNvPr>
            <p:cNvGrpSpPr/>
            <p:nvPr/>
          </p:nvGrpSpPr>
          <p:grpSpPr>
            <a:xfrm>
              <a:off x="457200" y="5793754"/>
              <a:ext cx="326112" cy="326111"/>
              <a:chOff x="115497" y="1864737"/>
              <a:chExt cx="461744" cy="461744"/>
            </a:xfrm>
            <a:solidFill>
              <a:schemeClr val="tx2"/>
            </a:solidFill>
          </p:grpSpPr>
          <p:sp>
            <p:nvSpPr>
              <p:cNvPr id="25" name="Freeform: Shape 24">
                <a:extLst>
                  <a:ext uri="{FF2B5EF4-FFF2-40B4-BE49-F238E27FC236}">
                    <a16:creationId xmlns:a16="http://schemas.microsoft.com/office/drawing/2014/main" id="{0DDFE0FF-3720-4E32-9088-3A2E4DB7DAD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983B941-0B83-4C76-BD09-79DCBB73F435}"/>
                  </a:ext>
                </a:extLst>
              </p:cNvPr>
              <p:cNvSpPr/>
              <p:nvPr/>
            </p:nvSpPr>
            <p:spPr>
              <a:xfrm>
                <a:off x="230796" y="2004264"/>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7" name="Rectangle 26">
            <a:extLst>
              <a:ext uri="{FF2B5EF4-FFF2-40B4-BE49-F238E27FC236}">
                <a16:creationId xmlns:a16="http://schemas.microsoft.com/office/drawing/2014/main" id="{23A63D8C-A2A6-4D29-BE0C-940A4A5FC1E8}"/>
              </a:ext>
            </a:extLst>
          </p:cNvPr>
          <p:cNvSpPr/>
          <p:nvPr/>
        </p:nvSpPr>
        <p:spPr>
          <a:xfrm>
            <a:off x="506804" y="4335713"/>
            <a:ext cx="11227996" cy="2156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Info</a:t>
            </a:r>
          </a:p>
        </p:txBody>
      </p:sp>
    </p:spTree>
    <p:extLst>
      <p:ext uri="{BB962C8B-B14F-4D97-AF65-F5344CB8AC3E}">
        <p14:creationId xmlns:p14="http://schemas.microsoft.com/office/powerpoint/2010/main" val="269443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 Definition &amp; Test Management considerations</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are the tests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82002" y="1783167"/>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What are the common patterns or strategies across all the tests? (For specific details per Test Phase/Test Type use the detailed test slides). See the “Example/Guide” slide for the list of areas to consider: </a:t>
            </a:r>
            <a:r>
              <a:rPr lang="en-GB" sz="1600">
                <a:solidFill>
                  <a:schemeClr val="tx1"/>
                </a:solidFill>
                <a:hlinkClick r:id="rId3" action="ppaction://hlinksldjump"/>
              </a:rPr>
              <a:t>Test Definition &amp; Test Management considerations</a:t>
            </a:r>
            <a:endParaRPr lang="en-US" sz="1600">
              <a:solidFill>
                <a:schemeClr val="tx1"/>
              </a:solidFill>
              <a:cs typeface="Segoe UI"/>
            </a:endParaRPr>
          </a:p>
          <a:p>
            <a:endParaRPr lang="en-US" sz="160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146740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757108" cy="899665"/>
          </a:xfrm>
        </p:spPr>
        <p:txBody>
          <a:bodyPr/>
          <a:lstStyle/>
          <a:p>
            <a:r>
              <a:rPr lang="en-GB" dirty="0"/>
              <a:t>Test Definition &amp; Test Management considerations</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is testing defined, planned and its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Example/Guide slid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pic>
        <p:nvPicPr>
          <p:cNvPr id="5" name="Picture 4" descr="Test Definition &amp; Test Management considerations example showing phases and objectives of testing.">
            <a:extLst>
              <a:ext uri="{FF2B5EF4-FFF2-40B4-BE49-F238E27FC236}">
                <a16:creationId xmlns:a16="http://schemas.microsoft.com/office/drawing/2014/main" id="{C209E981-42FC-480A-AAF1-D94E0730CDE4}"/>
              </a:ext>
            </a:extLst>
          </p:cNvPr>
          <p:cNvPicPr>
            <a:picLocks noChangeAspect="1"/>
          </p:cNvPicPr>
          <p:nvPr/>
        </p:nvPicPr>
        <p:blipFill>
          <a:blip r:embed="rId3"/>
          <a:stretch>
            <a:fillRect/>
          </a:stretch>
        </p:blipFill>
        <p:spPr>
          <a:xfrm>
            <a:off x="457199" y="1927776"/>
            <a:ext cx="11277601" cy="3741048"/>
          </a:xfrm>
          <a:prstGeom prst="rect">
            <a:avLst/>
          </a:prstGeom>
        </p:spPr>
      </p:pic>
    </p:spTree>
    <p:extLst>
      <p:ext uri="{BB962C8B-B14F-4D97-AF65-F5344CB8AC3E}">
        <p14:creationId xmlns:p14="http://schemas.microsoft.com/office/powerpoint/2010/main" val="109023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Unit Testing</a:t>
            </a:r>
          </a:p>
        </p:txBody>
      </p:sp>
    </p:spTree>
    <p:extLst>
      <p:ext uri="{BB962C8B-B14F-4D97-AF65-F5344CB8AC3E}">
        <p14:creationId xmlns:p14="http://schemas.microsoft.com/office/powerpoint/2010/main" val="39199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Unit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Unit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263370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Functional/Process Testing</a:t>
            </a:r>
          </a:p>
        </p:txBody>
      </p:sp>
    </p:spTree>
    <p:extLst>
      <p:ext uri="{BB962C8B-B14F-4D97-AF65-F5344CB8AC3E}">
        <p14:creationId xmlns:p14="http://schemas.microsoft.com/office/powerpoint/2010/main" val="146431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Functional/Process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Functional/Process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43752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System Integration Testing</a:t>
            </a:r>
          </a:p>
        </p:txBody>
      </p:sp>
    </p:spTree>
    <p:extLst>
      <p:ext uri="{BB962C8B-B14F-4D97-AF65-F5344CB8AC3E}">
        <p14:creationId xmlns:p14="http://schemas.microsoft.com/office/powerpoint/2010/main" val="226368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System Integration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System Integration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466818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 Strategy 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rgbClr val="008272"/>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i="1" dirty="0">
                <a:solidFill>
                  <a:schemeClr val="tx1"/>
                </a:solidFill>
              </a:rPr>
              <a:t>Reiterate the purpose and objectives of this workshop to ensure all attendees have a common understanding.</a:t>
            </a:r>
          </a:p>
          <a:p>
            <a:pPr defTabSz="932597"/>
            <a:endParaRPr lang="en-US" sz="1600" dirty="0">
              <a:solidFill>
                <a:schemeClr val="tx1"/>
              </a:solidFill>
            </a:endParaRPr>
          </a:p>
          <a:p>
            <a:pPr defTabSz="932597"/>
            <a:r>
              <a:rPr lang="en-US" sz="1600" u="sng" dirty="0">
                <a:solidFill>
                  <a:schemeClr val="tx1"/>
                </a:solidFill>
              </a:rPr>
              <a:t>Objective of the Test Strategy</a:t>
            </a:r>
            <a:r>
              <a:rPr lang="en-US" sz="1600" dirty="0">
                <a:solidFill>
                  <a:schemeClr val="tx1"/>
                </a:solidFill>
              </a:rPr>
              <a:t>:  To provide the necessary direction and planning to ensure that the testing regimen is appropriate to the project scope, business needs and risks.</a:t>
            </a:r>
          </a:p>
          <a:p>
            <a:pPr defTabSz="932597"/>
            <a:endParaRPr lang="en-US" sz="1600" dirty="0">
              <a:solidFill>
                <a:schemeClr val="tx1"/>
              </a:solidFill>
            </a:endParaRPr>
          </a:p>
          <a:p>
            <a:pPr defTabSz="932597"/>
            <a:r>
              <a:rPr lang="en-US" sz="1600" u="sng" dirty="0">
                <a:solidFill>
                  <a:schemeClr val="tx1"/>
                </a:solidFill>
              </a:rPr>
              <a:t>Objective of this workshop</a:t>
            </a:r>
            <a:r>
              <a:rPr lang="en-US" sz="1600" dirty="0">
                <a:solidFill>
                  <a:schemeClr val="tx1"/>
                </a:solidFill>
              </a:rPr>
              <a:t>: To confirm that the Test Strategy for this project adequately addresses the project scope and related business risks prior to production use.</a:t>
            </a:r>
          </a:p>
          <a:p>
            <a:pPr defTabSz="932597"/>
            <a:endParaRPr lang="en-US" sz="1600" dirty="0">
              <a:solidFill>
                <a:schemeClr val="tx1"/>
              </a:solidFill>
            </a:endParaRPr>
          </a:p>
          <a:p>
            <a:pPr defTabSz="932597"/>
            <a:endParaRPr lang="en-US" sz="1600" dirty="0">
              <a:solidFill>
                <a:schemeClr val="tx1"/>
              </a:solidFill>
              <a:cs typeface="Segoe UI"/>
            </a:endParaRPr>
          </a:p>
        </p:txBody>
      </p:sp>
      <p:sp>
        <p:nvSpPr>
          <p:cNvPr id="42" name="Rectangle: Rounded Corners 14">
            <a:extLst>
              <a:ext uri="{FF2B5EF4-FFF2-40B4-BE49-F238E27FC236}">
                <a16:creationId xmlns:a16="http://schemas.microsoft.com/office/drawing/2014/main" id="{FCCFC8E7-228A-485F-B89E-E8B4B03CC681}"/>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 uri="{C183D7F6-B498-43B3-948B-1728B52AA6E4}">
                <adec:decorative xmlns:adec="http://schemas.microsoft.com/office/drawing/2017/decorative" val="1"/>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 uri="{C183D7F6-B498-43B3-948B-1728B52AA6E4}">
                <adec:decorative xmlns:adec="http://schemas.microsoft.com/office/drawing/2017/decorative" val="1"/>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 uri="{C183D7F6-B498-43B3-948B-1728B52AA6E4}">
                <adec:decorative xmlns:adec="http://schemas.microsoft.com/office/drawing/2017/decorative" val="1"/>
              </a:ext>
            </a:extLst>
          </p:cNvPr>
          <p:cNvCxnSpPr>
            <a:cxnSpLocks/>
          </p:cNvCxnSpPr>
          <p:nvPr/>
        </p:nvCxnSpPr>
        <p:spPr>
          <a:xfrm>
            <a:off x="457200" y="2451213"/>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C8DEDC1E-B9F9-418B-93EA-03CEE8A48BB4}"/>
              </a:ext>
              <a:ext uri="{C183D7F6-B498-43B3-948B-1728B52AA6E4}">
                <adec:decorative xmlns:adec="http://schemas.microsoft.com/office/drawing/2017/decorative" val="1"/>
              </a:ext>
            </a:extLst>
          </p:cNvPr>
          <p:cNvCxnSpPr>
            <a:cxnSpLocks/>
          </p:cNvCxnSpPr>
          <p:nvPr/>
        </p:nvCxnSpPr>
        <p:spPr>
          <a:xfrm>
            <a:off x="457200" y="3040727"/>
            <a:ext cx="5664073" cy="0"/>
          </a:xfrm>
          <a:prstGeom prst="line">
            <a:avLst/>
          </a:prstGeom>
          <a:noFill/>
          <a:ln w="3175">
            <a:solidFill>
              <a:schemeClr val="bg1">
                <a:lumMod val="85000"/>
              </a:schemeClr>
            </a:solidFill>
            <a:prstDash val="dash"/>
          </a:ln>
        </p:spPr>
      </p:cxnSp>
      <p:cxnSp>
        <p:nvCxnSpPr>
          <p:cNvPr id="48" name="Straight Connector 47">
            <a:extLst>
              <a:ext uri="{FF2B5EF4-FFF2-40B4-BE49-F238E27FC236}">
                <a16:creationId xmlns:a16="http://schemas.microsoft.com/office/drawing/2014/main" id="{7354E8F2-26A2-4CCA-89B8-65B9B53DA07B}"/>
              </a:ext>
              <a:ext uri="{C183D7F6-B498-43B3-948B-1728B52AA6E4}">
                <adec:decorative xmlns:adec="http://schemas.microsoft.com/office/drawing/2017/decorative" val="1"/>
              </a:ext>
            </a:extLst>
          </p:cNvPr>
          <p:cNvCxnSpPr>
            <a:cxnSpLocks/>
          </p:cNvCxnSpPr>
          <p:nvPr/>
        </p:nvCxnSpPr>
        <p:spPr>
          <a:xfrm>
            <a:off x="447773" y="4158139"/>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 uri="{C183D7F6-B498-43B3-948B-1728B52AA6E4}">
                <adec:decorative xmlns:adec="http://schemas.microsoft.com/office/drawing/2017/decorative" val="1"/>
              </a:ext>
            </a:extLst>
          </p:cNvPr>
          <p:cNvCxnSpPr>
            <a:cxnSpLocks/>
          </p:cNvCxnSpPr>
          <p:nvPr/>
        </p:nvCxnSpPr>
        <p:spPr>
          <a:xfrm>
            <a:off x="447773" y="4747653"/>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 uri="{C183D7F6-B498-43B3-948B-1728B52AA6E4}">
                <adec:decorative xmlns:adec="http://schemas.microsoft.com/office/drawing/2017/decorative" val="1"/>
              </a:ext>
            </a:extLst>
          </p:cNvPr>
          <p:cNvCxnSpPr>
            <a:cxnSpLocks/>
          </p:cNvCxnSpPr>
          <p:nvPr/>
        </p:nvCxnSpPr>
        <p:spPr>
          <a:xfrm>
            <a:off x="447773" y="4950673"/>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 uri="{C183D7F6-B498-43B3-948B-1728B52AA6E4}">
                <adec:decorative xmlns:adec="http://schemas.microsoft.com/office/drawing/2017/decorative" val="1"/>
              </a:ext>
            </a:extLst>
          </p:cNvPr>
          <p:cNvCxnSpPr>
            <a:cxnSpLocks/>
          </p:cNvCxnSpPr>
          <p:nvPr/>
        </p:nvCxnSpPr>
        <p:spPr>
          <a:xfrm>
            <a:off x="457200" y="5229102"/>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 uri="{C183D7F6-B498-43B3-948B-1728B52AA6E4}">
                <adec:decorative xmlns:adec="http://schemas.microsoft.com/office/drawing/2017/decorative" val="1"/>
              </a:ext>
            </a:extLst>
          </p:cNvPr>
          <p:cNvGrpSpPr/>
          <p:nvPr/>
        </p:nvGrpSpPr>
        <p:grpSpPr>
          <a:xfrm>
            <a:off x="506805" y="1895263"/>
            <a:ext cx="5613527" cy="522386"/>
            <a:chOff x="506805" y="1895263"/>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Purpose and objectives</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1993400"/>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69" name="Group 68">
            <a:extLst>
              <a:ext uri="{FF2B5EF4-FFF2-40B4-BE49-F238E27FC236}">
                <a16:creationId xmlns:a16="http://schemas.microsoft.com/office/drawing/2014/main" id="{199D9518-4245-48DA-AFDC-44848BB4C33A}"/>
              </a:ext>
              <a:ext uri="{C183D7F6-B498-43B3-948B-1728B52AA6E4}">
                <adec:decorative xmlns:adec="http://schemas.microsoft.com/office/drawing/2017/decorative" val="1"/>
              </a:ext>
            </a:extLst>
          </p:cNvPr>
          <p:cNvGrpSpPr/>
          <p:nvPr/>
        </p:nvGrpSpPr>
        <p:grpSpPr>
          <a:xfrm>
            <a:off x="473046" y="4236614"/>
            <a:ext cx="5613527" cy="564952"/>
            <a:chOff x="482473" y="3749450"/>
            <a:chExt cx="5613527" cy="541223"/>
          </a:xfrm>
        </p:grpSpPr>
        <p:sp>
          <p:nvSpPr>
            <p:cNvPr id="70" name="Rectangle 69">
              <a:extLst>
                <a:ext uri="{FF2B5EF4-FFF2-40B4-BE49-F238E27FC236}">
                  <a16:creationId xmlns:a16="http://schemas.microsoft.com/office/drawing/2014/main" id="{1CE81B94-64B5-49BC-8A00-1B321C123F69}"/>
                </a:ext>
              </a:extLst>
            </p:cNvPr>
            <p:cNvSpPr/>
            <p:nvPr/>
          </p:nvSpPr>
          <p:spPr>
            <a:xfrm>
              <a:off x="482473" y="3768287"/>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est Phases and Test Types</a:t>
              </a:r>
            </a:p>
            <a:p>
              <a:pPr defTabSz="288000"/>
              <a:r>
                <a:rPr lang="en-GB" sz="1600">
                  <a:solidFill>
                    <a:schemeClr val="tx1"/>
                  </a:solidFill>
                </a:rPr>
                <a:t>	</a:t>
              </a:r>
              <a:r>
                <a:rPr lang="en-GB" sz="1200">
                  <a:solidFill>
                    <a:schemeClr val="tx1"/>
                  </a:solidFill>
                </a:rPr>
                <a:t>​ Specific Test Phases and Test Types</a:t>
              </a:r>
            </a:p>
          </p:txBody>
        </p:sp>
        <p:grpSp>
          <p:nvGrpSpPr>
            <p:cNvPr id="71" name="Group 70">
              <a:extLst>
                <a:ext uri="{FF2B5EF4-FFF2-40B4-BE49-F238E27FC236}">
                  <a16:creationId xmlns:a16="http://schemas.microsoft.com/office/drawing/2014/main" id="{628EF100-B47D-4AE2-B379-E928FBF5CBF8}"/>
                </a:ext>
              </a:extLst>
            </p:cNvPr>
            <p:cNvGrpSpPr/>
            <p:nvPr/>
          </p:nvGrpSpPr>
          <p:grpSpPr>
            <a:xfrm>
              <a:off x="730757" y="3749450"/>
              <a:ext cx="326112" cy="326112"/>
              <a:chOff x="115497" y="1864737"/>
              <a:chExt cx="461744" cy="461744"/>
            </a:xfrm>
            <a:solidFill>
              <a:schemeClr val="tx2"/>
            </a:solidFill>
          </p:grpSpPr>
          <p:sp>
            <p:nvSpPr>
              <p:cNvPr id="72" name="Freeform: Shape 71">
                <a:extLst>
                  <a:ext uri="{FF2B5EF4-FFF2-40B4-BE49-F238E27FC236}">
                    <a16:creationId xmlns:a16="http://schemas.microsoft.com/office/drawing/2014/main" id="{95D38F1C-5C55-4873-BE66-20E7BE3E2ED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Graphic 77">
                <a:extLst>
                  <a:ext uri="{FF2B5EF4-FFF2-40B4-BE49-F238E27FC236}">
                    <a16:creationId xmlns:a16="http://schemas.microsoft.com/office/drawing/2014/main" id="{E24498CF-9BEE-4E44-B585-1F75DC58AE6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79" name="Group 78">
            <a:extLst>
              <a:ext uri="{FF2B5EF4-FFF2-40B4-BE49-F238E27FC236}">
                <a16:creationId xmlns:a16="http://schemas.microsoft.com/office/drawing/2014/main" id="{00543721-9F23-4D2C-A13E-D93B984A9FDA}"/>
              </a:ext>
              <a:ext uri="{C183D7F6-B498-43B3-948B-1728B52AA6E4}">
                <adec:decorative xmlns:adec="http://schemas.microsoft.com/office/drawing/2017/decorative" val="1"/>
              </a:ext>
            </a:extLst>
          </p:cNvPr>
          <p:cNvGrpSpPr/>
          <p:nvPr/>
        </p:nvGrpSpPr>
        <p:grpSpPr>
          <a:xfrm>
            <a:off x="506805" y="4867319"/>
            <a:ext cx="5613527" cy="522386"/>
            <a:chOff x="506805" y="4822013"/>
            <a:chExt cx="5613527" cy="522386"/>
          </a:xfrm>
        </p:grpSpPr>
        <p:sp>
          <p:nvSpPr>
            <p:cNvPr id="80" name="Rectangle 79">
              <a:extLst>
                <a:ext uri="{FF2B5EF4-FFF2-40B4-BE49-F238E27FC236}">
                  <a16:creationId xmlns:a16="http://schemas.microsoft.com/office/drawing/2014/main" id="{531F93E7-ED00-4260-816E-6CBCB07E9A23}"/>
                </a:ext>
              </a:extLst>
            </p:cNvPr>
            <p:cNvSpPr/>
            <p:nvPr/>
          </p:nvSpPr>
          <p:spPr>
            <a:xfrm>
              <a:off x="506805" y="48220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en-GB" sz="1600">
                <a:solidFill>
                  <a:schemeClr val="tx1"/>
                </a:solidFill>
              </a:endParaRPr>
            </a:p>
          </p:txBody>
        </p:sp>
        <p:grpSp>
          <p:nvGrpSpPr>
            <p:cNvPr id="81" name="Group 80">
              <a:extLst>
                <a:ext uri="{FF2B5EF4-FFF2-40B4-BE49-F238E27FC236}">
                  <a16:creationId xmlns:a16="http://schemas.microsoft.com/office/drawing/2014/main" id="{82CB8E29-DE60-4DA7-B4D0-2E855D242409}"/>
                </a:ext>
              </a:extLst>
            </p:cNvPr>
            <p:cNvGrpSpPr/>
            <p:nvPr/>
          </p:nvGrpSpPr>
          <p:grpSpPr>
            <a:xfrm>
              <a:off x="730757" y="4920150"/>
              <a:ext cx="326112" cy="326112"/>
              <a:chOff x="115497" y="1864737"/>
              <a:chExt cx="461744" cy="461744"/>
            </a:xfrm>
            <a:solidFill>
              <a:schemeClr val="tx2"/>
            </a:solidFill>
          </p:grpSpPr>
          <p:sp>
            <p:nvSpPr>
              <p:cNvPr id="82" name="Freeform: Shape 81">
                <a:extLst>
                  <a:ext uri="{FF2B5EF4-FFF2-40B4-BE49-F238E27FC236}">
                    <a16:creationId xmlns:a16="http://schemas.microsoft.com/office/drawing/2014/main" id="{FD2A5F48-3EE0-4254-933E-F0507DBF41A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3" name="Graphic 77">
                <a:extLst>
                  <a:ext uri="{FF2B5EF4-FFF2-40B4-BE49-F238E27FC236}">
                    <a16:creationId xmlns:a16="http://schemas.microsoft.com/office/drawing/2014/main" id="{54D9EF2F-59A7-4FDC-996B-D738619C34A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 uri="{C183D7F6-B498-43B3-948B-1728B52AA6E4}">
                <adec:decorative xmlns:adec="http://schemas.microsoft.com/office/drawing/2017/decorative" val="1"/>
              </a:ext>
            </a:extLst>
          </p:cNvPr>
          <p:cNvGrpSpPr/>
          <p:nvPr/>
        </p:nvGrpSpPr>
        <p:grpSpPr>
          <a:xfrm>
            <a:off x="506805" y="5298437"/>
            <a:ext cx="5613527" cy="522386"/>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Q&amp;A</a:t>
              </a:r>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730757" y="5505500"/>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 uri="{C183D7F6-B498-43B3-948B-1728B52AA6E4}">
                <adec:decorative xmlns:adec="http://schemas.microsoft.com/office/drawing/2017/decorative" val="1"/>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 uri="{C183D7F6-B498-43B3-948B-1728B52AA6E4}">
                <adec:decorative xmlns:adec="http://schemas.microsoft.com/office/drawing/2017/decorative" val="1"/>
              </a:ext>
            </a:extLst>
          </p:cNvPr>
          <p:cNvGrpSpPr/>
          <p:nvPr/>
        </p:nvGrpSpPr>
        <p:grpSpPr>
          <a:xfrm>
            <a:off x="6527121" y="4988967"/>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3" name="Group 92">
            <a:extLst>
              <a:ext uri="{FF2B5EF4-FFF2-40B4-BE49-F238E27FC236}">
                <a16:creationId xmlns:a16="http://schemas.microsoft.com/office/drawing/2014/main" id="{5E1CA762-CB82-429E-89B2-E95C130A0A2A}"/>
              </a:ext>
              <a:ext uri="{C183D7F6-B498-43B3-948B-1728B52AA6E4}">
                <adec:decorative xmlns:adec="http://schemas.microsoft.com/office/drawing/2017/decorative" val="1"/>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79544" y="4967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Format: </a:t>
            </a:r>
            <a:r>
              <a:rPr lang="en-US" sz="1600" kern="0">
                <a:ea typeface="Segoe UI" pitchFamily="34" charset="0"/>
                <a:cs typeface="Segoe UI" pitchFamily="34" charset="0"/>
              </a:rPr>
              <a:t>120-minute Microsoft Teams call</a:t>
            </a:r>
          </a:p>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Attendees:</a:t>
            </a:r>
            <a:r>
              <a:rPr lang="en-US" sz="1600" kern="0">
                <a:ea typeface="Segoe UI" pitchFamily="34" charset="0"/>
                <a:cs typeface="Segoe UI" pitchFamily="34" charset="0"/>
              </a:rPr>
              <a:t>. Customer and partner: PMs, Solution Architect(s), Test Manager(s)</a:t>
            </a:r>
            <a:br>
              <a:rPr lang="en-US" sz="1600" kern="0">
                <a:ea typeface="Segoe UI" pitchFamily="34" charset="0"/>
                <a:cs typeface="Segoe UI" pitchFamily="34" charset="0"/>
              </a:rPr>
            </a:br>
            <a:r>
              <a:rPr lang="en-US" sz="1600" kern="0">
                <a:ea typeface="Segoe UI" pitchFamily="34" charset="0"/>
                <a:cs typeface="Segoe UI" pitchFamily="34" charset="0"/>
              </a:rPr>
              <a:t>are mandatory</a:t>
            </a:r>
          </a:p>
        </p:txBody>
      </p:sp>
      <p:sp>
        <p:nvSpPr>
          <p:cNvPr id="104" name="Rectangle: Rounded Corners 12">
            <a:extLst>
              <a:ext uri="{FF2B5EF4-FFF2-40B4-BE49-F238E27FC236}">
                <a16:creationId xmlns:a16="http://schemas.microsoft.com/office/drawing/2014/main" id="{1F9281E3-1F1D-4B02-A80D-710A4BB90B72}"/>
              </a:ext>
              <a:ext uri="{C183D7F6-B498-43B3-948B-1728B52AA6E4}">
                <adec:decorative xmlns:adec="http://schemas.microsoft.com/office/drawing/2017/decorative" val="1"/>
              </a:ext>
            </a:extLst>
          </p:cNvPr>
          <p:cNvSpPr/>
          <p:nvPr/>
        </p:nvSpPr>
        <p:spPr>
          <a:xfrm>
            <a:off x="6128174" y="2658464"/>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a:latin typeface="Segoe UI"/>
            </a:endParaRPr>
          </a:p>
        </p:txBody>
      </p:sp>
      <p:sp>
        <p:nvSpPr>
          <p:cNvPr id="4" name="Rectangle 3">
            <a:extLst>
              <a:ext uri="{FF2B5EF4-FFF2-40B4-BE49-F238E27FC236}">
                <a16:creationId xmlns:a16="http://schemas.microsoft.com/office/drawing/2014/main" id="{AEB24241-BB4A-41B3-8932-6471BC2563BB}"/>
              </a:ext>
              <a:ext uri="{C183D7F6-B498-43B3-948B-1728B52AA6E4}">
                <adec:decorative xmlns:adec="http://schemas.microsoft.com/office/drawing/2017/decorative" val="1"/>
              </a:ext>
            </a:extLst>
          </p:cNvPr>
          <p:cNvSpPr/>
          <p:nvPr/>
        </p:nvSpPr>
        <p:spPr>
          <a:xfrm>
            <a:off x="557873" y="3961432"/>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en-GB" sz="1600">
              <a:solidFill>
                <a:schemeClr val="tx1"/>
              </a:solidFill>
            </a:endParaRPr>
          </a:p>
        </p:txBody>
      </p:sp>
      <p:sp>
        <p:nvSpPr>
          <p:cNvPr id="5" name="Rectangle 4">
            <a:extLst>
              <a:ext uri="{FF2B5EF4-FFF2-40B4-BE49-F238E27FC236}">
                <a16:creationId xmlns:a16="http://schemas.microsoft.com/office/drawing/2014/main" id="{CE9BBCE3-8743-4C99-BEC8-0DE48BD28E1F}"/>
              </a:ext>
            </a:extLst>
          </p:cNvPr>
          <p:cNvSpPr/>
          <p:nvPr/>
        </p:nvSpPr>
        <p:spPr>
          <a:xfrm>
            <a:off x="567300" y="48115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ools</a:t>
            </a:r>
          </a:p>
        </p:txBody>
      </p:sp>
      <p:cxnSp>
        <p:nvCxnSpPr>
          <p:cNvPr id="65" name="Straight Connector 64">
            <a:extLst>
              <a:ext uri="{FF2B5EF4-FFF2-40B4-BE49-F238E27FC236}">
                <a16:creationId xmlns:a16="http://schemas.microsoft.com/office/drawing/2014/main" id="{566A09A1-5FB6-4FE4-B726-FEB8B2E47D53}"/>
              </a:ext>
              <a:ext uri="{C183D7F6-B498-43B3-948B-1728B52AA6E4}">
                <adec:decorative xmlns:adec="http://schemas.microsoft.com/office/drawing/2017/decorative" val="1"/>
              </a:ext>
            </a:extLst>
          </p:cNvPr>
          <p:cNvCxnSpPr>
            <a:cxnSpLocks/>
          </p:cNvCxnSpPr>
          <p:nvPr/>
        </p:nvCxnSpPr>
        <p:spPr>
          <a:xfrm>
            <a:off x="432868" y="3038386"/>
            <a:ext cx="5664073" cy="0"/>
          </a:xfrm>
          <a:prstGeom prst="line">
            <a:avLst/>
          </a:prstGeom>
          <a:noFill/>
          <a:ln w="3175">
            <a:solidFill>
              <a:schemeClr val="bg1">
                <a:lumMod val="85000"/>
              </a:schemeClr>
            </a:solidFill>
            <a:prstDash val="dash"/>
          </a:ln>
        </p:spPr>
      </p:cxnSp>
      <p:grpSp>
        <p:nvGrpSpPr>
          <p:cNvPr id="74" name="Group 73">
            <a:extLst>
              <a:ext uri="{FF2B5EF4-FFF2-40B4-BE49-F238E27FC236}">
                <a16:creationId xmlns:a16="http://schemas.microsoft.com/office/drawing/2014/main" id="{3823A448-5868-4E3E-9475-45AE56B3BB06}"/>
              </a:ext>
              <a:ext uri="{C183D7F6-B498-43B3-948B-1728B52AA6E4}">
                <adec:decorative xmlns:adec="http://schemas.microsoft.com/office/drawing/2017/decorative" val="1"/>
              </a:ext>
            </a:extLst>
          </p:cNvPr>
          <p:cNvGrpSpPr/>
          <p:nvPr/>
        </p:nvGrpSpPr>
        <p:grpSpPr>
          <a:xfrm>
            <a:off x="482473" y="2482436"/>
            <a:ext cx="5613527" cy="522386"/>
            <a:chOff x="506805" y="1895263"/>
            <a:chExt cx="5613527" cy="522386"/>
          </a:xfrm>
        </p:grpSpPr>
        <p:sp>
          <p:nvSpPr>
            <p:cNvPr id="75" name="Rectangle 74">
              <a:extLst>
                <a:ext uri="{FF2B5EF4-FFF2-40B4-BE49-F238E27FC236}">
                  <a16:creationId xmlns:a16="http://schemas.microsoft.com/office/drawing/2014/main" id="{89B2625A-7450-4332-BC67-FFAD4032511F}"/>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Overall Test Strategy</a:t>
              </a:r>
            </a:p>
          </p:txBody>
        </p:sp>
        <p:grpSp>
          <p:nvGrpSpPr>
            <p:cNvPr id="76" name="Group 75">
              <a:extLst>
                <a:ext uri="{FF2B5EF4-FFF2-40B4-BE49-F238E27FC236}">
                  <a16:creationId xmlns:a16="http://schemas.microsoft.com/office/drawing/2014/main" id="{EB67C6B5-DE70-49DA-9A56-E97042CA010E}"/>
                </a:ext>
              </a:extLst>
            </p:cNvPr>
            <p:cNvGrpSpPr/>
            <p:nvPr/>
          </p:nvGrpSpPr>
          <p:grpSpPr>
            <a:xfrm>
              <a:off x="730757" y="1993400"/>
              <a:ext cx="326112" cy="326112"/>
              <a:chOff x="115497" y="1864737"/>
              <a:chExt cx="461744" cy="461744"/>
            </a:xfrm>
            <a:solidFill>
              <a:schemeClr val="tx2"/>
            </a:solidFill>
          </p:grpSpPr>
          <p:sp>
            <p:nvSpPr>
              <p:cNvPr id="77" name="Freeform: Shape 76">
                <a:extLst>
                  <a:ext uri="{FF2B5EF4-FFF2-40B4-BE49-F238E27FC236}">
                    <a16:creationId xmlns:a16="http://schemas.microsoft.com/office/drawing/2014/main" id="{D85D5318-D99F-4EDD-BA24-123B8848C8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8" name="Graphic 77">
                <a:extLst>
                  <a:ext uri="{FF2B5EF4-FFF2-40B4-BE49-F238E27FC236}">
                    <a16:creationId xmlns:a16="http://schemas.microsoft.com/office/drawing/2014/main" id="{5F131F46-5E95-409E-8E27-14AD0C78983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98" name="Straight Connector 97">
            <a:extLst>
              <a:ext uri="{FF2B5EF4-FFF2-40B4-BE49-F238E27FC236}">
                <a16:creationId xmlns:a16="http://schemas.microsoft.com/office/drawing/2014/main" id="{56B4E243-2A15-43FD-99D9-B710B21D3BB2}"/>
              </a:ext>
              <a:ext uri="{C183D7F6-B498-43B3-948B-1728B52AA6E4}">
                <adec:decorative xmlns:adec="http://schemas.microsoft.com/office/drawing/2017/decorative" val="1"/>
              </a:ext>
            </a:extLst>
          </p:cNvPr>
          <p:cNvCxnSpPr>
            <a:cxnSpLocks/>
          </p:cNvCxnSpPr>
          <p:nvPr/>
        </p:nvCxnSpPr>
        <p:spPr>
          <a:xfrm>
            <a:off x="431283" y="4169488"/>
            <a:ext cx="5664073" cy="0"/>
          </a:xfrm>
          <a:prstGeom prst="line">
            <a:avLst/>
          </a:prstGeom>
          <a:noFill/>
          <a:ln w="3175">
            <a:solidFill>
              <a:schemeClr val="bg1">
                <a:lumMod val="85000"/>
              </a:schemeClr>
            </a:solidFill>
            <a:prstDash val="dash"/>
          </a:ln>
        </p:spPr>
      </p:cxnSp>
      <p:grpSp>
        <p:nvGrpSpPr>
          <p:cNvPr id="99" name="Group 98">
            <a:extLst>
              <a:ext uri="{FF2B5EF4-FFF2-40B4-BE49-F238E27FC236}">
                <a16:creationId xmlns:a16="http://schemas.microsoft.com/office/drawing/2014/main" id="{3EBD8192-702E-4D55-BA67-A0309F7DF611}"/>
              </a:ext>
              <a:ext uri="{C183D7F6-B498-43B3-948B-1728B52AA6E4}">
                <adec:decorative xmlns:adec="http://schemas.microsoft.com/office/drawing/2017/decorative" val="1"/>
              </a:ext>
            </a:extLst>
          </p:cNvPr>
          <p:cNvGrpSpPr/>
          <p:nvPr/>
        </p:nvGrpSpPr>
        <p:grpSpPr>
          <a:xfrm>
            <a:off x="490315" y="3085640"/>
            <a:ext cx="5613527" cy="522386"/>
            <a:chOff x="506805" y="1895263"/>
            <a:chExt cx="5613527" cy="522386"/>
          </a:xfrm>
        </p:grpSpPr>
        <p:sp>
          <p:nvSpPr>
            <p:cNvPr id="106" name="Rectangle 105">
              <a:extLst>
                <a:ext uri="{FF2B5EF4-FFF2-40B4-BE49-F238E27FC236}">
                  <a16:creationId xmlns:a16="http://schemas.microsoft.com/office/drawing/2014/main" id="{687ADBDF-B730-4EA0-979B-30E0889CBA59}"/>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rPr>
                <a:t>Project Scope mapped to Testing Scope</a:t>
              </a:r>
            </a:p>
          </p:txBody>
        </p:sp>
        <p:grpSp>
          <p:nvGrpSpPr>
            <p:cNvPr id="107" name="Group 106">
              <a:extLst>
                <a:ext uri="{FF2B5EF4-FFF2-40B4-BE49-F238E27FC236}">
                  <a16:creationId xmlns:a16="http://schemas.microsoft.com/office/drawing/2014/main" id="{374AA53D-9B27-42B4-B7A1-A0B2CB19B801}"/>
                </a:ext>
              </a:extLst>
            </p:cNvPr>
            <p:cNvGrpSpPr/>
            <p:nvPr/>
          </p:nvGrpSpPr>
          <p:grpSpPr>
            <a:xfrm>
              <a:off x="730757" y="1993400"/>
              <a:ext cx="326112" cy="326112"/>
              <a:chOff x="115497" y="1864737"/>
              <a:chExt cx="461744" cy="461744"/>
            </a:xfrm>
            <a:solidFill>
              <a:schemeClr val="tx2"/>
            </a:solidFill>
          </p:grpSpPr>
          <p:sp>
            <p:nvSpPr>
              <p:cNvPr id="113" name="Freeform: Shape 112">
                <a:extLst>
                  <a:ext uri="{FF2B5EF4-FFF2-40B4-BE49-F238E27FC236}">
                    <a16:creationId xmlns:a16="http://schemas.microsoft.com/office/drawing/2014/main" id="{BCC82F5C-76AA-418B-928A-E63F8661131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4" name="Graphic 77">
                <a:extLst>
                  <a:ext uri="{FF2B5EF4-FFF2-40B4-BE49-F238E27FC236}">
                    <a16:creationId xmlns:a16="http://schemas.microsoft.com/office/drawing/2014/main" id="{70C6D8CD-F571-4AA3-A93F-82200F490E4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115" name="Straight Connector 114">
            <a:extLst>
              <a:ext uri="{FF2B5EF4-FFF2-40B4-BE49-F238E27FC236}">
                <a16:creationId xmlns:a16="http://schemas.microsoft.com/office/drawing/2014/main" id="{4FBEDC42-5A0E-49B4-B67B-3134FED54616}"/>
              </a:ext>
              <a:ext uri="{C183D7F6-B498-43B3-948B-1728B52AA6E4}">
                <adec:decorative xmlns:adec="http://schemas.microsoft.com/office/drawing/2017/decorative" val="1"/>
              </a:ext>
            </a:extLst>
          </p:cNvPr>
          <p:cNvCxnSpPr>
            <a:cxnSpLocks/>
          </p:cNvCxnSpPr>
          <p:nvPr/>
        </p:nvCxnSpPr>
        <p:spPr>
          <a:xfrm>
            <a:off x="449358" y="3606840"/>
            <a:ext cx="5664073" cy="0"/>
          </a:xfrm>
          <a:prstGeom prst="line">
            <a:avLst/>
          </a:prstGeom>
          <a:noFill/>
          <a:ln w="3175">
            <a:solidFill>
              <a:schemeClr val="bg1">
                <a:lumMod val="85000"/>
              </a:schemeClr>
            </a:solidFill>
            <a:prstDash val="dash"/>
          </a:ln>
        </p:spPr>
      </p:cxnSp>
      <p:cxnSp>
        <p:nvCxnSpPr>
          <p:cNvPr id="116" name="Straight Connector 115">
            <a:extLst>
              <a:ext uri="{FF2B5EF4-FFF2-40B4-BE49-F238E27FC236}">
                <a16:creationId xmlns:a16="http://schemas.microsoft.com/office/drawing/2014/main" id="{01305CB6-6749-4B58-A3D3-83AB52CD6A5F}"/>
              </a:ext>
              <a:ext uri="{C183D7F6-B498-43B3-948B-1728B52AA6E4}">
                <adec:decorative xmlns:adec="http://schemas.microsoft.com/office/drawing/2017/decorative" val="1"/>
              </a:ext>
            </a:extLst>
          </p:cNvPr>
          <p:cNvCxnSpPr>
            <a:cxnSpLocks/>
          </p:cNvCxnSpPr>
          <p:nvPr/>
        </p:nvCxnSpPr>
        <p:spPr>
          <a:xfrm>
            <a:off x="425026" y="3604499"/>
            <a:ext cx="5664073" cy="0"/>
          </a:xfrm>
          <a:prstGeom prst="line">
            <a:avLst/>
          </a:prstGeom>
          <a:noFill/>
          <a:ln w="3175">
            <a:solidFill>
              <a:schemeClr val="bg1">
                <a:lumMod val="85000"/>
              </a:schemeClr>
            </a:solidFill>
            <a:prstDash val="dash"/>
          </a:ln>
        </p:spPr>
      </p:cxnSp>
      <p:grpSp>
        <p:nvGrpSpPr>
          <p:cNvPr id="118" name="Group 117">
            <a:extLst>
              <a:ext uri="{FF2B5EF4-FFF2-40B4-BE49-F238E27FC236}">
                <a16:creationId xmlns:a16="http://schemas.microsoft.com/office/drawing/2014/main" id="{B9BD788A-5AF8-4256-B2AF-9437E8A039DD}"/>
              </a:ext>
              <a:ext uri="{C183D7F6-B498-43B3-948B-1728B52AA6E4}">
                <adec:decorative xmlns:adec="http://schemas.microsoft.com/office/drawing/2017/decorative" val="1"/>
              </a:ext>
            </a:extLst>
          </p:cNvPr>
          <p:cNvGrpSpPr/>
          <p:nvPr/>
        </p:nvGrpSpPr>
        <p:grpSpPr>
          <a:xfrm>
            <a:off x="482473" y="3651753"/>
            <a:ext cx="5613527" cy="522386"/>
            <a:chOff x="506805" y="1895263"/>
            <a:chExt cx="5613527" cy="522386"/>
          </a:xfrm>
        </p:grpSpPr>
        <p:sp>
          <p:nvSpPr>
            <p:cNvPr id="119" name="Rectangle 118">
              <a:extLst>
                <a:ext uri="{FF2B5EF4-FFF2-40B4-BE49-F238E27FC236}">
                  <a16:creationId xmlns:a16="http://schemas.microsoft.com/office/drawing/2014/main" id="{5BF6511F-CE5D-4CC8-B618-38F144A33D7E}"/>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est Plan</a:t>
              </a:r>
            </a:p>
          </p:txBody>
        </p:sp>
        <p:grpSp>
          <p:nvGrpSpPr>
            <p:cNvPr id="120" name="Group 119">
              <a:extLst>
                <a:ext uri="{FF2B5EF4-FFF2-40B4-BE49-F238E27FC236}">
                  <a16:creationId xmlns:a16="http://schemas.microsoft.com/office/drawing/2014/main" id="{AE630AEC-7425-4EA1-8159-9B0751D9A302}"/>
                </a:ext>
              </a:extLst>
            </p:cNvPr>
            <p:cNvGrpSpPr/>
            <p:nvPr/>
          </p:nvGrpSpPr>
          <p:grpSpPr>
            <a:xfrm>
              <a:off x="730757" y="1993400"/>
              <a:ext cx="326112" cy="326112"/>
              <a:chOff x="115497" y="1864737"/>
              <a:chExt cx="461744" cy="461744"/>
            </a:xfrm>
            <a:solidFill>
              <a:schemeClr val="tx2"/>
            </a:solidFill>
          </p:grpSpPr>
          <p:sp>
            <p:nvSpPr>
              <p:cNvPr id="121" name="Freeform: Shape 120">
                <a:extLst>
                  <a:ext uri="{FF2B5EF4-FFF2-40B4-BE49-F238E27FC236}">
                    <a16:creationId xmlns:a16="http://schemas.microsoft.com/office/drawing/2014/main" id="{2E0B2EA2-42DE-426F-914F-DA7D2A7C823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2" name="Graphic 77">
                <a:extLst>
                  <a:ext uri="{FF2B5EF4-FFF2-40B4-BE49-F238E27FC236}">
                    <a16:creationId xmlns:a16="http://schemas.microsoft.com/office/drawing/2014/main" id="{35960CEE-F978-4854-8BCC-8E6C8EF2F04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123" name="Straight Connector 122">
            <a:extLst>
              <a:ext uri="{FF2B5EF4-FFF2-40B4-BE49-F238E27FC236}">
                <a16:creationId xmlns:a16="http://schemas.microsoft.com/office/drawing/2014/main" id="{713FD460-02CF-4F51-9F86-FBE610D83B91}"/>
              </a:ext>
              <a:ext uri="{C183D7F6-B498-43B3-948B-1728B52AA6E4}">
                <adec:decorative xmlns:adec="http://schemas.microsoft.com/office/drawing/2017/decorative" val="1"/>
              </a:ext>
            </a:extLst>
          </p:cNvPr>
          <p:cNvCxnSpPr>
            <a:cxnSpLocks/>
          </p:cNvCxnSpPr>
          <p:nvPr/>
        </p:nvCxnSpPr>
        <p:spPr>
          <a:xfrm>
            <a:off x="481532" y="5841357"/>
            <a:ext cx="5664073" cy="0"/>
          </a:xfrm>
          <a:prstGeom prst="line">
            <a:avLst/>
          </a:prstGeom>
          <a:noFill/>
          <a:ln w="3175">
            <a:solidFill>
              <a:schemeClr val="bg1">
                <a:lumMod val="85000"/>
              </a:schemeClr>
            </a:solidFill>
            <a:prstDash val="dash"/>
          </a:ln>
        </p:spPr>
      </p:cxnSp>
      <p:cxnSp>
        <p:nvCxnSpPr>
          <p:cNvPr id="124" name="Straight Connector 123">
            <a:extLst>
              <a:ext uri="{FF2B5EF4-FFF2-40B4-BE49-F238E27FC236}">
                <a16:creationId xmlns:a16="http://schemas.microsoft.com/office/drawing/2014/main" id="{2DDEF6D8-BBC6-4296-B37A-0E31AA836319}"/>
              </a:ext>
              <a:ext uri="{C183D7F6-B498-43B3-948B-1728B52AA6E4}">
                <adec:decorative xmlns:adec="http://schemas.microsoft.com/office/drawing/2017/decorative" val="1"/>
              </a:ext>
            </a:extLst>
          </p:cNvPr>
          <p:cNvCxnSpPr>
            <a:cxnSpLocks/>
          </p:cNvCxnSpPr>
          <p:nvPr/>
        </p:nvCxnSpPr>
        <p:spPr>
          <a:xfrm>
            <a:off x="457200" y="5839016"/>
            <a:ext cx="5664073" cy="0"/>
          </a:xfrm>
          <a:prstGeom prst="line">
            <a:avLst/>
          </a:prstGeom>
          <a:noFill/>
          <a:ln w="3175">
            <a:solidFill>
              <a:schemeClr val="bg1">
                <a:lumMod val="85000"/>
              </a:schemeClr>
            </a:solidFill>
            <a:prstDash val="dash"/>
          </a:ln>
        </p:spPr>
      </p:cxnSp>
      <p:grpSp>
        <p:nvGrpSpPr>
          <p:cNvPr id="126" name="Group 125">
            <a:extLst>
              <a:ext uri="{FF2B5EF4-FFF2-40B4-BE49-F238E27FC236}">
                <a16:creationId xmlns:a16="http://schemas.microsoft.com/office/drawing/2014/main" id="{777353BD-1AE0-47AF-B0AB-CCB3DB2AB325}"/>
              </a:ext>
              <a:ext uri="{C183D7F6-B498-43B3-948B-1728B52AA6E4}">
                <adec:decorative xmlns:adec="http://schemas.microsoft.com/office/drawing/2017/decorative" val="1"/>
              </a:ext>
            </a:extLst>
          </p:cNvPr>
          <p:cNvGrpSpPr/>
          <p:nvPr/>
        </p:nvGrpSpPr>
        <p:grpSpPr>
          <a:xfrm>
            <a:off x="514647" y="5886270"/>
            <a:ext cx="5613527" cy="522386"/>
            <a:chOff x="506805" y="1895263"/>
            <a:chExt cx="5613527" cy="522386"/>
          </a:xfrm>
        </p:grpSpPr>
        <p:sp>
          <p:nvSpPr>
            <p:cNvPr id="127" name="Rectangle 126">
              <a:extLst>
                <a:ext uri="{FF2B5EF4-FFF2-40B4-BE49-F238E27FC236}">
                  <a16:creationId xmlns:a16="http://schemas.microsoft.com/office/drawing/2014/main" id="{9F3C9539-2BBD-4640-8275-CC4CF140FF51}"/>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Next Steps and Agreed Actions</a:t>
              </a:r>
            </a:p>
          </p:txBody>
        </p:sp>
        <p:grpSp>
          <p:nvGrpSpPr>
            <p:cNvPr id="128" name="Group 127">
              <a:extLst>
                <a:ext uri="{FF2B5EF4-FFF2-40B4-BE49-F238E27FC236}">
                  <a16:creationId xmlns:a16="http://schemas.microsoft.com/office/drawing/2014/main" id="{E6584A59-62BA-40DC-8B7B-056C05275E7B}"/>
                </a:ext>
              </a:extLst>
            </p:cNvPr>
            <p:cNvGrpSpPr/>
            <p:nvPr/>
          </p:nvGrpSpPr>
          <p:grpSpPr>
            <a:xfrm>
              <a:off x="730757" y="1993400"/>
              <a:ext cx="326112" cy="326112"/>
              <a:chOff x="115497" y="1864737"/>
              <a:chExt cx="461744" cy="461744"/>
            </a:xfrm>
            <a:solidFill>
              <a:schemeClr val="tx2"/>
            </a:solidFill>
          </p:grpSpPr>
          <p:sp>
            <p:nvSpPr>
              <p:cNvPr id="129" name="Freeform: Shape 128">
                <a:extLst>
                  <a:ext uri="{FF2B5EF4-FFF2-40B4-BE49-F238E27FC236}">
                    <a16:creationId xmlns:a16="http://schemas.microsoft.com/office/drawing/2014/main" id="{4FC734F3-C3B5-4C40-88ED-501F44A1D50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Graphic 77">
                <a:extLst>
                  <a:ext uri="{FF2B5EF4-FFF2-40B4-BE49-F238E27FC236}">
                    <a16:creationId xmlns:a16="http://schemas.microsoft.com/office/drawing/2014/main" id="{73D2AB1C-69A3-4576-86F4-CF0AE2FBEB9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End-to-End Testing</a:t>
            </a:r>
          </a:p>
        </p:txBody>
      </p:sp>
    </p:spTree>
    <p:extLst>
      <p:ext uri="{BB962C8B-B14F-4D97-AF65-F5344CB8AC3E}">
        <p14:creationId xmlns:p14="http://schemas.microsoft.com/office/powerpoint/2010/main" val="2715589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End-to-End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End-to-End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cs typeface="Segoe UI"/>
            </a:endParaRPr>
          </a:p>
          <a:p>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9717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User Acceptance Testing</a:t>
            </a:r>
          </a:p>
        </p:txBody>
      </p:sp>
    </p:spTree>
    <p:extLst>
      <p:ext uri="{BB962C8B-B14F-4D97-AF65-F5344CB8AC3E}">
        <p14:creationId xmlns:p14="http://schemas.microsoft.com/office/powerpoint/2010/main" val="74198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User Acceptance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User Acceptance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23943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Regression Testing</a:t>
            </a:r>
          </a:p>
        </p:txBody>
      </p:sp>
    </p:spTree>
    <p:extLst>
      <p:ext uri="{BB962C8B-B14F-4D97-AF65-F5344CB8AC3E}">
        <p14:creationId xmlns:p14="http://schemas.microsoft.com/office/powerpoint/2010/main" val="361200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Regression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Regression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116168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1514261"/>
          </a:xfrm>
        </p:spPr>
        <p:txBody>
          <a:bodyPr/>
          <a:lstStyle/>
          <a:p>
            <a:r>
              <a:rPr lang="en-US" sz="4800"/>
              <a:t>Non-Functional Testing - Performance</a:t>
            </a:r>
          </a:p>
        </p:txBody>
      </p:sp>
    </p:spTree>
    <p:extLst>
      <p:ext uri="{BB962C8B-B14F-4D97-AF65-F5344CB8AC3E}">
        <p14:creationId xmlns:p14="http://schemas.microsoft.com/office/powerpoint/2010/main" val="312434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erformance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Performance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91696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Non-Functional Testing - Data</a:t>
            </a:r>
          </a:p>
        </p:txBody>
      </p:sp>
    </p:spTree>
    <p:extLst>
      <p:ext uri="{BB962C8B-B14F-4D97-AF65-F5344CB8AC3E}">
        <p14:creationId xmlns:p14="http://schemas.microsoft.com/office/powerpoint/2010/main" val="297584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Data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Data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34615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Overall Test Strategy</a:t>
            </a:r>
          </a:p>
        </p:txBody>
      </p:sp>
    </p:spTree>
    <p:extLst>
      <p:ext uri="{BB962C8B-B14F-4D97-AF65-F5344CB8AC3E}">
        <p14:creationId xmlns:p14="http://schemas.microsoft.com/office/powerpoint/2010/main" val="223834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Non-Functional Testing - Security</a:t>
            </a:r>
          </a:p>
        </p:txBody>
      </p:sp>
    </p:spTree>
    <p:extLst>
      <p:ext uri="{BB962C8B-B14F-4D97-AF65-F5344CB8AC3E}">
        <p14:creationId xmlns:p14="http://schemas.microsoft.com/office/powerpoint/2010/main" val="157407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Security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Security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98168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Test Tooling</a:t>
            </a:r>
          </a:p>
        </p:txBody>
      </p:sp>
    </p:spTree>
    <p:extLst>
      <p:ext uri="{BB962C8B-B14F-4D97-AF65-F5344CB8AC3E}">
        <p14:creationId xmlns:p14="http://schemas.microsoft.com/office/powerpoint/2010/main" val="290963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ooling – Dynamics 365 CE</a:t>
            </a:r>
          </a:p>
        </p:txBody>
      </p:sp>
      <p:cxnSp>
        <p:nvCxnSpPr>
          <p:cNvPr id="28" name="Straight Connector 27">
            <a:extLst>
              <a:ext uri="{FF2B5EF4-FFF2-40B4-BE49-F238E27FC236}">
                <a16:creationId xmlns:a16="http://schemas.microsoft.com/office/drawing/2014/main" id="{502F0AE0-091E-4632-9F6B-85E6B0D9F0CD}"/>
              </a:ext>
              <a:ext uri="{C183D7F6-B498-43B3-948B-1728B52AA6E4}">
                <adec:decorative xmlns:adec="http://schemas.microsoft.com/office/drawing/2017/decorative" val="1"/>
              </a:ext>
            </a:extLst>
          </p:cNvPr>
          <p:cNvCxnSpPr>
            <a:cxnSpLocks/>
          </p:cNvCxnSpPr>
          <p:nvPr/>
        </p:nvCxnSpPr>
        <p:spPr>
          <a:xfrm>
            <a:off x="457200" y="2973971"/>
            <a:ext cx="11277600" cy="0"/>
          </a:xfrm>
          <a:prstGeom prst="line">
            <a:avLst/>
          </a:prstGeom>
          <a:noFill/>
          <a:ln w="3175">
            <a:solidFill>
              <a:schemeClr val="bg1">
                <a:lumMod val="85000"/>
              </a:schemeClr>
            </a:solidFill>
            <a:prstDash val="dash"/>
          </a:ln>
        </p:spPr>
      </p:cxnSp>
      <p:cxnSp>
        <p:nvCxnSpPr>
          <p:cNvPr id="29" name="Straight Connector 28">
            <a:extLst>
              <a:ext uri="{FF2B5EF4-FFF2-40B4-BE49-F238E27FC236}">
                <a16:creationId xmlns:a16="http://schemas.microsoft.com/office/drawing/2014/main" id="{EB84DF05-BA26-4958-A40A-7B14F3E434D4}"/>
              </a:ext>
              <a:ext uri="{C183D7F6-B498-43B3-948B-1728B52AA6E4}">
                <adec:decorative xmlns:adec="http://schemas.microsoft.com/office/drawing/2017/decorative" val="1"/>
              </a:ext>
            </a:extLst>
          </p:cNvPr>
          <p:cNvCxnSpPr>
            <a:cxnSpLocks/>
          </p:cNvCxnSpPr>
          <p:nvPr/>
        </p:nvCxnSpPr>
        <p:spPr>
          <a:xfrm>
            <a:off x="457200" y="4115286"/>
            <a:ext cx="11277600" cy="0"/>
          </a:xfrm>
          <a:prstGeom prst="line">
            <a:avLst/>
          </a:prstGeom>
          <a:noFill/>
          <a:ln w="3175">
            <a:solidFill>
              <a:schemeClr val="bg1">
                <a:lumMod val="85000"/>
              </a:schemeClr>
            </a:solidFill>
            <a:prstDash val="dash"/>
          </a:ln>
        </p:spPr>
      </p:cxnSp>
      <p:cxnSp>
        <p:nvCxnSpPr>
          <p:cNvPr id="30" name="Straight Connector 29">
            <a:extLst>
              <a:ext uri="{FF2B5EF4-FFF2-40B4-BE49-F238E27FC236}">
                <a16:creationId xmlns:a16="http://schemas.microsoft.com/office/drawing/2014/main" id="{99CCBDAB-104D-4665-8A69-BFDEA24A3F10}"/>
              </a:ext>
              <a:ext uri="{C183D7F6-B498-43B3-948B-1728B52AA6E4}">
                <adec:decorative xmlns:adec="http://schemas.microsoft.com/office/drawing/2017/decorative" val="1"/>
              </a:ext>
            </a:extLst>
          </p:cNvPr>
          <p:cNvCxnSpPr>
            <a:cxnSpLocks/>
          </p:cNvCxnSpPr>
          <p:nvPr/>
        </p:nvCxnSpPr>
        <p:spPr>
          <a:xfrm>
            <a:off x="457200" y="5256601"/>
            <a:ext cx="11277600" cy="0"/>
          </a:xfrm>
          <a:prstGeom prst="line">
            <a:avLst/>
          </a:prstGeom>
          <a:noFill/>
          <a:ln w="3175">
            <a:solidFill>
              <a:schemeClr val="bg1">
                <a:lumMod val="85000"/>
              </a:schemeClr>
            </a:solidFill>
            <a:prstDash val="dash"/>
          </a:ln>
        </p:spPr>
      </p:cxnSp>
      <p:sp>
        <p:nvSpPr>
          <p:cNvPr id="31" name="Rectangle 30">
            <a:extLst>
              <a:ext uri="{FF2B5EF4-FFF2-40B4-BE49-F238E27FC236}">
                <a16:creationId xmlns:a16="http://schemas.microsoft.com/office/drawing/2014/main" id="{3D0C7387-BCC5-418B-BEB0-3A7022CB8768}"/>
              </a:ext>
            </a:extLst>
          </p:cNvPr>
          <p:cNvSpPr/>
          <p:nvPr/>
        </p:nvSpPr>
        <p:spPr>
          <a:xfrm>
            <a:off x="506805"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tool(s) will be used for Testing?</a:t>
            </a:r>
          </a:p>
        </p:txBody>
      </p:sp>
      <p:grpSp>
        <p:nvGrpSpPr>
          <p:cNvPr id="32" name="Group 31">
            <a:extLst>
              <a:ext uri="{FF2B5EF4-FFF2-40B4-BE49-F238E27FC236}">
                <a16:creationId xmlns:a16="http://schemas.microsoft.com/office/drawing/2014/main" id="{175EF952-1BEA-4D5A-9F1A-78F44F0D3AC1}"/>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33" name="Freeform: Shape 32">
              <a:extLst>
                <a:ext uri="{FF2B5EF4-FFF2-40B4-BE49-F238E27FC236}">
                  <a16:creationId xmlns:a16="http://schemas.microsoft.com/office/drawing/2014/main" id="{89E74B97-3C08-4DF2-B16D-40804831F0A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Graphic 77">
              <a:extLst>
                <a:ext uri="{FF2B5EF4-FFF2-40B4-BE49-F238E27FC236}">
                  <a16:creationId xmlns:a16="http://schemas.microsoft.com/office/drawing/2014/main" id="{558F9338-1E55-4392-ADE6-151E6511195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5" name="Rectangle 34">
            <a:extLst>
              <a:ext uri="{FF2B5EF4-FFF2-40B4-BE49-F238E27FC236}">
                <a16:creationId xmlns:a16="http://schemas.microsoft.com/office/drawing/2014/main" id="{82583F54-FD2D-4CF8-9F12-0C897B1000EF}"/>
              </a:ext>
            </a:extLst>
          </p:cNvPr>
          <p:cNvSpPr/>
          <p:nvPr/>
        </p:nvSpPr>
        <p:spPr>
          <a:xfrm>
            <a:off x="506805" y="304344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ave you considered any whitepaper associated with the tool for best practices, known issues?</a:t>
            </a:r>
          </a:p>
        </p:txBody>
      </p:sp>
      <p:grpSp>
        <p:nvGrpSpPr>
          <p:cNvPr id="36" name="Group 35">
            <a:extLst>
              <a:ext uri="{FF2B5EF4-FFF2-40B4-BE49-F238E27FC236}">
                <a16:creationId xmlns:a16="http://schemas.microsoft.com/office/drawing/2014/main" id="{595FD759-2F2A-44DD-8CC3-3EA1C720B0D4}"/>
              </a:ext>
              <a:ext uri="{C183D7F6-B498-43B3-948B-1728B52AA6E4}">
                <adec:decorative xmlns:adec="http://schemas.microsoft.com/office/drawing/2017/decorative" val="1"/>
              </a:ext>
            </a:extLst>
          </p:cNvPr>
          <p:cNvGrpSpPr/>
          <p:nvPr/>
        </p:nvGrpSpPr>
        <p:grpSpPr>
          <a:xfrm>
            <a:off x="457200" y="3141578"/>
            <a:ext cx="326112" cy="326112"/>
            <a:chOff x="115497" y="1864737"/>
            <a:chExt cx="461744" cy="461744"/>
          </a:xfrm>
          <a:solidFill>
            <a:schemeClr val="tx2"/>
          </a:solidFill>
        </p:grpSpPr>
        <p:sp>
          <p:nvSpPr>
            <p:cNvPr id="37" name="Freeform: Shape 36">
              <a:extLst>
                <a:ext uri="{FF2B5EF4-FFF2-40B4-BE49-F238E27FC236}">
                  <a16:creationId xmlns:a16="http://schemas.microsoft.com/office/drawing/2014/main" id="{77AF9582-9FD1-44E5-99BD-27118D851B5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Graphic 77">
              <a:extLst>
                <a:ext uri="{FF2B5EF4-FFF2-40B4-BE49-F238E27FC236}">
                  <a16:creationId xmlns:a16="http://schemas.microsoft.com/office/drawing/2014/main" id="{C0B65A85-44D5-4747-94B7-A7C3544C855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4D6FC085-C053-4D1E-8598-BF7A1B956072}"/>
              </a:ext>
            </a:extLst>
          </p:cNvPr>
          <p:cNvSpPr/>
          <p:nvPr/>
        </p:nvSpPr>
        <p:spPr>
          <a:xfrm>
            <a:off x="506806" y="4194634"/>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use of Automated and manual testing with Azure Plan (DevOps) have you planned?: </a:t>
            </a:r>
          </a:p>
        </p:txBody>
      </p:sp>
      <p:grpSp>
        <p:nvGrpSpPr>
          <p:cNvPr id="40" name="Group 39">
            <a:extLst>
              <a:ext uri="{FF2B5EF4-FFF2-40B4-BE49-F238E27FC236}">
                <a16:creationId xmlns:a16="http://schemas.microsoft.com/office/drawing/2014/main" id="{774983D6-3708-4E25-B0CE-5291AD0F72ED}"/>
              </a:ext>
              <a:ext uri="{C183D7F6-B498-43B3-948B-1728B52AA6E4}">
                <adec:decorative xmlns:adec="http://schemas.microsoft.com/office/drawing/2017/decorative" val="1"/>
              </a:ext>
            </a:extLst>
          </p:cNvPr>
          <p:cNvGrpSpPr/>
          <p:nvPr/>
        </p:nvGrpSpPr>
        <p:grpSpPr>
          <a:xfrm>
            <a:off x="457200" y="4292771"/>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34FFB35A-7913-445E-BDDA-974E72F1D78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BBC0F371-6AC8-4CA5-9809-1AD072B9877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3" name="Rectangle 42">
            <a:extLst>
              <a:ext uri="{FF2B5EF4-FFF2-40B4-BE49-F238E27FC236}">
                <a16:creationId xmlns:a16="http://schemas.microsoft.com/office/drawing/2014/main" id="{8D779325-EE33-4684-A270-CAC2DCE65BA6}"/>
              </a:ext>
            </a:extLst>
          </p:cNvPr>
          <p:cNvSpPr/>
          <p:nvPr/>
        </p:nvSpPr>
        <p:spPr>
          <a:xfrm>
            <a:off x="506806" y="5329715"/>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use of Easy Repro for UI testing for Dynamics 365 have you planned?</a:t>
            </a:r>
          </a:p>
        </p:txBody>
      </p:sp>
      <p:grpSp>
        <p:nvGrpSpPr>
          <p:cNvPr id="44" name="Group 43">
            <a:extLst>
              <a:ext uri="{FF2B5EF4-FFF2-40B4-BE49-F238E27FC236}">
                <a16:creationId xmlns:a16="http://schemas.microsoft.com/office/drawing/2014/main" id="{89255C37-BCFD-4036-9F5F-002DCA5AE29F}"/>
              </a:ext>
              <a:ext uri="{C183D7F6-B498-43B3-948B-1728B52AA6E4}">
                <adec:decorative xmlns:adec="http://schemas.microsoft.com/office/drawing/2017/decorative" val="1"/>
              </a:ext>
            </a:extLst>
          </p:cNvPr>
          <p:cNvGrpSpPr/>
          <p:nvPr/>
        </p:nvGrpSpPr>
        <p:grpSpPr>
          <a:xfrm>
            <a:off x="457200" y="5427852"/>
            <a:ext cx="326112" cy="326112"/>
            <a:chOff x="115497" y="1864737"/>
            <a:chExt cx="461744" cy="461744"/>
          </a:xfrm>
          <a:solidFill>
            <a:schemeClr val="tx2"/>
          </a:solidFill>
        </p:grpSpPr>
        <p:sp>
          <p:nvSpPr>
            <p:cNvPr id="46" name="Freeform: Shape 45">
              <a:extLst>
                <a:ext uri="{FF2B5EF4-FFF2-40B4-BE49-F238E27FC236}">
                  <a16:creationId xmlns:a16="http://schemas.microsoft.com/office/drawing/2014/main" id="{F8805271-3BE2-4DB5-8B9F-D188BEC702F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Graphic 77">
              <a:extLst>
                <a:ext uri="{FF2B5EF4-FFF2-40B4-BE49-F238E27FC236}">
                  <a16:creationId xmlns:a16="http://schemas.microsoft.com/office/drawing/2014/main" id="{C9AB6650-5F2F-4951-85AB-5B42E2CF072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8" name="Rectangle 47">
            <a:extLst>
              <a:ext uri="{FF2B5EF4-FFF2-40B4-BE49-F238E27FC236}">
                <a16:creationId xmlns:a16="http://schemas.microsoft.com/office/drawing/2014/main" id="{EC1991FE-22CA-4473-8132-A42D261176C3}"/>
              </a:ext>
              <a:ext uri="{C183D7F6-B498-43B3-948B-1728B52AA6E4}">
                <adec:decorative xmlns:adec="http://schemas.microsoft.com/office/drawing/2017/decorative" val="1"/>
              </a:ext>
            </a:extLst>
          </p:cNvPr>
          <p:cNvSpPr/>
          <p:nvPr/>
        </p:nvSpPr>
        <p:spPr>
          <a:xfrm>
            <a:off x="6810998" y="189526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49" name="Rectangle 48">
            <a:extLst>
              <a:ext uri="{FF2B5EF4-FFF2-40B4-BE49-F238E27FC236}">
                <a16:creationId xmlns:a16="http://schemas.microsoft.com/office/drawing/2014/main" id="{6F4E48B8-4202-4A6F-AA01-A6BF6628D6FC}"/>
              </a:ext>
            </a:extLst>
          </p:cNvPr>
          <p:cNvSpPr/>
          <p:nvPr/>
        </p:nvSpPr>
        <p:spPr>
          <a:xfrm>
            <a:off x="6810998" y="3036576"/>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a:solidFill>
                  <a:schemeClr val="tx1"/>
                </a:solidFill>
              </a:rPr>
              <a:t>Yes/No</a:t>
            </a:r>
          </a:p>
        </p:txBody>
      </p:sp>
      <p:sp>
        <p:nvSpPr>
          <p:cNvPr id="50" name="Rectangle 49">
            <a:extLst>
              <a:ext uri="{FF2B5EF4-FFF2-40B4-BE49-F238E27FC236}">
                <a16:creationId xmlns:a16="http://schemas.microsoft.com/office/drawing/2014/main" id="{899A069E-8A45-412F-AD95-9171B760F465}"/>
              </a:ext>
              <a:ext uri="{C183D7F6-B498-43B3-948B-1728B52AA6E4}">
                <adec:decorative xmlns:adec="http://schemas.microsoft.com/office/drawing/2017/decorative" val="1"/>
              </a:ext>
            </a:extLst>
          </p:cNvPr>
          <p:cNvSpPr/>
          <p:nvPr/>
        </p:nvSpPr>
        <p:spPr>
          <a:xfrm>
            <a:off x="6810998" y="417789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51" name="Rectangle 50">
            <a:extLst>
              <a:ext uri="{FF2B5EF4-FFF2-40B4-BE49-F238E27FC236}">
                <a16:creationId xmlns:a16="http://schemas.microsoft.com/office/drawing/2014/main" id="{B15689F8-F6E3-4453-833B-0D8CBBBA5F35}"/>
              </a:ext>
              <a:ext uri="{C183D7F6-B498-43B3-948B-1728B52AA6E4}">
                <adec:decorative xmlns:adec="http://schemas.microsoft.com/office/drawing/2017/decorative" val="1"/>
              </a:ext>
            </a:extLst>
          </p:cNvPr>
          <p:cNvSpPr/>
          <p:nvPr/>
        </p:nvSpPr>
        <p:spPr>
          <a:xfrm>
            <a:off x="6810998" y="5319205"/>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45" name="Rectangle 44">
            <a:extLst>
              <a:ext uri="{FF2B5EF4-FFF2-40B4-BE49-F238E27FC236}">
                <a16:creationId xmlns:a16="http://schemas.microsoft.com/office/drawing/2014/main" id="{36DCD6D8-96F0-4E06-8514-E18077295D0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176445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ooling – Dynamics 365 F&amp;O</a:t>
            </a:r>
          </a:p>
        </p:txBody>
      </p:sp>
      <p:cxnSp>
        <p:nvCxnSpPr>
          <p:cNvPr id="29" name="Straight Connector 28">
            <a:extLst>
              <a:ext uri="{FF2B5EF4-FFF2-40B4-BE49-F238E27FC236}">
                <a16:creationId xmlns:a16="http://schemas.microsoft.com/office/drawing/2014/main" id="{EB84DF05-BA26-4958-A40A-7B14F3E434D4}"/>
              </a:ext>
              <a:ext uri="{C183D7F6-B498-43B3-948B-1728B52AA6E4}">
                <adec:decorative xmlns:adec="http://schemas.microsoft.com/office/drawing/2017/decorative" val="1"/>
              </a:ext>
            </a:extLst>
          </p:cNvPr>
          <p:cNvCxnSpPr>
            <a:cxnSpLocks/>
          </p:cNvCxnSpPr>
          <p:nvPr/>
        </p:nvCxnSpPr>
        <p:spPr>
          <a:xfrm>
            <a:off x="457200" y="5296024"/>
            <a:ext cx="11277600" cy="0"/>
          </a:xfrm>
          <a:prstGeom prst="line">
            <a:avLst/>
          </a:prstGeom>
          <a:noFill/>
          <a:ln w="3175">
            <a:solidFill>
              <a:schemeClr val="bg1">
                <a:lumMod val="85000"/>
              </a:schemeClr>
            </a:solidFill>
            <a:prstDash val="dash"/>
          </a:ln>
        </p:spPr>
      </p:cxnSp>
      <p:sp>
        <p:nvSpPr>
          <p:cNvPr id="31" name="Rectangle 30">
            <a:extLst>
              <a:ext uri="{FF2B5EF4-FFF2-40B4-BE49-F238E27FC236}">
                <a16:creationId xmlns:a16="http://schemas.microsoft.com/office/drawing/2014/main" id="{3D0C7387-BCC5-418B-BEB0-3A7022CB8768}"/>
              </a:ext>
            </a:extLst>
          </p:cNvPr>
          <p:cNvSpPr/>
          <p:nvPr/>
        </p:nvSpPr>
        <p:spPr>
          <a:xfrm>
            <a:off x="506805"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automation or other tool(s) will be used for Testing ?</a:t>
            </a:r>
          </a:p>
        </p:txBody>
      </p:sp>
      <p:grpSp>
        <p:nvGrpSpPr>
          <p:cNvPr id="32" name="Group 31">
            <a:extLst>
              <a:ext uri="{FF2B5EF4-FFF2-40B4-BE49-F238E27FC236}">
                <a16:creationId xmlns:a16="http://schemas.microsoft.com/office/drawing/2014/main" id="{175EF952-1BEA-4D5A-9F1A-78F44F0D3AC1}"/>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33" name="Freeform: Shape 32">
              <a:extLst>
                <a:ext uri="{FF2B5EF4-FFF2-40B4-BE49-F238E27FC236}">
                  <a16:creationId xmlns:a16="http://schemas.microsoft.com/office/drawing/2014/main" id="{89E74B97-3C08-4DF2-B16D-40804831F0A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Graphic 77">
              <a:extLst>
                <a:ext uri="{FF2B5EF4-FFF2-40B4-BE49-F238E27FC236}">
                  <a16:creationId xmlns:a16="http://schemas.microsoft.com/office/drawing/2014/main" id="{558F9338-1E55-4392-ADE6-151E6511195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4D6FC085-C053-4D1E-8598-BF7A1B956072}"/>
              </a:ext>
            </a:extLst>
          </p:cNvPr>
          <p:cNvSpPr/>
          <p:nvPr/>
        </p:nvSpPr>
        <p:spPr>
          <a:xfrm>
            <a:off x="506806" y="5375372"/>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use of RSAT for regression testing have you planned?: </a:t>
            </a:r>
          </a:p>
        </p:txBody>
      </p:sp>
      <p:grpSp>
        <p:nvGrpSpPr>
          <p:cNvPr id="40" name="Group 39">
            <a:extLst>
              <a:ext uri="{FF2B5EF4-FFF2-40B4-BE49-F238E27FC236}">
                <a16:creationId xmlns:a16="http://schemas.microsoft.com/office/drawing/2014/main" id="{774983D6-3708-4E25-B0CE-5291AD0F72ED}"/>
              </a:ext>
              <a:ext uri="{C183D7F6-B498-43B3-948B-1728B52AA6E4}">
                <adec:decorative xmlns:adec="http://schemas.microsoft.com/office/drawing/2017/decorative" val="1"/>
              </a:ext>
            </a:extLst>
          </p:cNvPr>
          <p:cNvGrpSpPr/>
          <p:nvPr/>
        </p:nvGrpSpPr>
        <p:grpSpPr>
          <a:xfrm>
            <a:off x="457200" y="5473509"/>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34FFB35A-7913-445E-BDDA-974E72F1D78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BBC0F371-6AC8-4CA5-9809-1AD072B9877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8" name="Rectangle 47">
            <a:extLst>
              <a:ext uri="{FF2B5EF4-FFF2-40B4-BE49-F238E27FC236}">
                <a16:creationId xmlns:a16="http://schemas.microsoft.com/office/drawing/2014/main" id="{EC1991FE-22CA-4473-8132-A42D261176C3}"/>
              </a:ext>
            </a:extLst>
          </p:cNvPr>
          <p:cNvSpPr/>
          <p:nvPr/>
        </p:nvSpPr>
        <p:spPr>
          <a:xfrm>
            <a:off x="6810998" y="1895260"/>
            <a:ext cx="4923802" cy="32232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Add a description of tooling for the various test types such as Unit Testing, Functional Testing, Performance Testing </a:t>
            </a:r>
            <a:r>
              <a:rPr lang="en-US" sz="1600" dirty="0" err="1">
                <a:solidFill>
                  <a:schemeClr val="tx1"/>
                </a:solidFill>
              </a:rPr>
              <a:t>etc</a:t>
            </a:r>
            <a:r>
              <a:rPr lang="en-US" sz="1600" dirty="0">
                <a:solidFill>
                  <a:schemeClr val="tx1"/>
                </a:solidFill>
              </a:rPr>
              <a:t>?</a:t>
            </a:r>
          </a:p>
        </p:txBody>
      </p:sp>
      <p:sp>
        <p:nvSpPr>
          <p:cNvPr id="50" name="Rectangle 49">
            <a:extLst>
              <a:ext uri="{FF2B5EF4-FFF2-40B4-BE49-F238E27FC236}">
                <a16:creationId xmlns:a16="http://schemas.microsoft.com/office/drawing/2014/main" id="{899A069E-8A45-412F-AD95-9171B760F465}"/>
              </a:ext>
              <a:ext uri="{C183D7F6-B498-43B3-948B-1728B52AA6E4}">
                <adec:decorative xmlns:adec="http://schemas.microsoft.com/office/drawing/2017/decorative" val="1"/>
              </a:ext>
            </a:extLst>
          </p:cNvPr>
          <p:cNvSpPr/>
          <p:nvPr/>
        </p:nvSpPr>
        <p:spPr>
          <a:xfrm>
            <a:off x="6810998" y="5358629"/>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45" name="Rectangle 44">
            <a:extLst>
              <a:ext uri="{FF2B5EF4-FFF2-40B4-BE49-F238E27FC236}">
                <a16:creationId xmlns:a16="http://schemas.microsoft.com/office/drawing/2014/main" id="{36DCD6D8-96F0-4E06-8514-E18077295D0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365594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Q&amp;A and Next Steps</a:t>
            </a:r>
          </a:p>
        </p:txBody>
      </p:sp>
    </p:spTree>
    <p:extLst>
      <p:ext uri="{BB962C8B-B14F-4D97-AF65-F5344CB8AC3E}">
        <p14:creationId xmlns:p14="http://schemas.microsoft.com/office/powerpoint/2010/main" val="280774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Next Steps and Agreed Actions</a:t>
            </a:r>
          </a:p>
        </p:txBody>
      </p:sp>
      <p:sp>
        <p:nvSpPr>
          <p:cNvPr id="26" name="Rectangle 25">
            <a:extLst>
              <a:ext uri="{FF2B5EF4-FFF2-40B4-BE49-F238E27FC236}">
                <a16:creationId xmlns:a16="http://schemas.microsoft.com/office/drawing/2014/main" id="{3EE3908A-E7B2-4491-9919-73E1BE3FA993}"/>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iscuss next steps and agreed action items.</a:t>
            </a:r>
          </a:p>
        </p:txBody>
      </p:sp>
      <p:grpSp>
        <p:nvGrpSpPr>
          <p:cNvPr id="28" name="Group 27">
            <a:extLst>
              <a:ext uri="{FF2B5EF4-FFF2-40B4-BE49-F238E27FC236}">
                <a16:creationId xmlns:a16="http://schemas.microsoft.com/office/drawing/2014/main" id="{5EB24ABA-7791-4106-98DF-BC19E22E4C94}"/>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D6BC7BB6-3E3D-4013-9223-2902E1AC58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7945BD11-124E-4F10-9642-9099F23D22A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A35E9EE8-3792-4935-BDF4-3CC3B6FBB0A0}"/>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next steps and action items</a:t>
            </a: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a:latin typeface="Segoe UI"/>
              </a:rPr>
              <a:t>© 2020 Microsoft Corporation. All rights reserved. Microsoft, Microsoft Dynamics, Office 365, Windows, and other product names are or may be registered trademarks and/or trademarks in </a:t>
            </a:r>
            <a:br>
              <a:rPr lang="en-US" sz="784" kern="0">
                <a:latin typeface="Segoe UI"/>
              </a:rPr>
            </a:br>
            <a:r>
              <a:rPr lang="en-US" sz="784" kern="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descr="Microsoft logo">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
        <p:nvSpPr>
          <p:cNvPr id="2" name="Title 1">
            <a:extLst>
              <a:ext uri="{FF2B5EF4-FFF2-40B4-BE49-F238E27FC236}">
                <a16:creationId xmlns:a16="http://schemas.microsoft.com/office/drawing/2014/main" id="{83E4AB65-E583-4565-9812-892A3FEA365B}"/>
              </a:ext>
            </a:extLst>
          </p:cNvPr>
          <p:cNvSpPr>
            <a:spLocks noGrp="1"/>
          </p:cNvSpPr>
          <p:nvPr>
            <p:ph type="title" idx="4294967295"/>
          </p:nvPr>
        </p:nvSpPr>
        <p:spPr>
          <a:xfrm>
            <a:off x="269240" y="-899665"/>
            <a:ext cx="11655840" cy="899665"/>
          </a:xfrm>
        </p:spPr>
        <p:txBody>
          <a:bodyPr vert="horz" wrap="square" lIns="146304" tIns="91440" rIns="146304" bIns="91440" rtlCol="0" anchor="b">
            <a:noAutofit/>
          </a:bodyPr>
          <a:lstStyle/>
          <a:p>
            <a:r>
              <a:rPr lang="en-US" dirty="0"/>
              <a:t>Copyright Microsoft</a:t>
            </a:r>
          </a:p>
        </p:txBody>
      </p:sp>
    </p:spTree>
    <p:extLst>
      <p:ext uri="{BB962C8B-B14F-4D97-AF65-F5344CB8AC3E}">
        <p14:creationId xmlns:p14="http://schemas.microsoft.com/office/powerpoint/2010/main" val="1129933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t>Overall Test Strategy</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efine the overall Test Strategy and approach</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538631" y="1711562"/>
            <a:ext cx="11277600" cy="47425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 A summary of the key areas of your Test Strategy</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234506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cs typeface="Segoe UI"/>
              </a:rPr>
              <a:t>Project Scope mapped to Testing Scope</a:t>
            </a:r>
          </a:p>
        </p:txBody>
      </p:sp>
    </p:spTree>
    <p:extLst>
      <p:ext uri="{BB962C8B-B14F-4D97-AF65-F5344CB8AC3E}">
        <p14:creationId xmlns:p14="http://schemas.microsoft.com/office/powerpoint/2010/main" val="158008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cs typeface="Segoe UI"/>
              </a:rPr>
              <a:t>Project scope mapped to Testing scope</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Identify the testing scope based on the project scope</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538631" y="1711563"/>
            <a:ext cx="11277600" cy="32510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Info: Consider all the various types of project scope. See some areas to consider here: </a:t>
            </a:r>
            <a:r>
              <a:rPr lang="en-GB" sz="1600">
                <a:solidFill>
                  <a:schemeClr val="tx1"/>
                </a:solidFill>
                <a:hlinkClick r:id="rId3" action="ppaction://hlinksldjump"/>
              </a:rPr>
              <a:t>Project scope mapped to Testing scope</a:t>
            </a:r>
            <a:endParaRPr lang="en-US" sz="160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22" name="Group 21">
            <a:extLst>
              <a:ext uri="{FF2B5EF4-FFF2-40B4-BE49-F238E27FC236}">
                <a16:creationId xmlns:a16="http://schemas.microsoft.com/office/drawing/2014/main" id="{E7AAE775-4DA6-4987-863A-6C8999E1BAB8}"/>
              </a:ext>
              <a:ext uri="{C183D7F6-B498-43B3-948B-1728B52AA6E4}">
                <adec:decorative xmlns:adec="http://schemas.microsoft.com/office/drawing/2017/decorative" val="1"/>
              </a:ext>
            </a:extLst>
          </p:cNvPr>
          <p:cNvGrpSpPr/>
          <p:nvPr/>
        </p:nvGrpSpPr>
        <p:grpSpPr>
          <a:xfrm>
            <a:off x="457200" y="5177142"/>
            <a:ext cx="11225441" cy="338554"/>
            <a:chOff x="457200" y="5787537"/>
            <a:chExt cx="10675765" cy="338554"/>
          </a:xfrm>
        </p:grpSpPr>
        <p:sp>
          <p:nvSpPr>
            <p:cNvPr id="23" name="Rectangle 22">
              <a:extLst>
                <a:ext uri="{FF2B5EF4-FFF2-40B4-BE49-F238E27FC236}">
                  <a16:creationId xmlns:a16="http://schemas.microsoft.com/office/drawing/2014/main" id="{22A46BAD-659F-458D-A07B-9339075E8FFB}"/>
                </a:ext>
              </a:extLst>
            </p:cNvPr>
            <p:cNvSpPr/>
            <p:nvPr/>
          </p:nvSpPr>
          <p:spPr>
            <a:xfrm>
              <a:off x="506805" y="5787537"/>
              <a:ext cx="106261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a:solidFill>
                    <a:schemeClr val="tx1"/>
                  </a:solidFill>
                </a:rPr>
                <a:t>List any relevant scope areas not clearly covered in the Test Strategy</a:t>
              </a:r>
            </a:p>
          </p:txBody>
        </p:sp>
        <p:grpSp>
          <p:nvGrpSpPr>
            <p:cNvPr id="24" name="Group 23">
              <a:extLst>
                <a:ext uri="{FF2B5EF4-FFF2-40B4-BE49-F238E27FC236}">
                  <a16:creationId xmlns:a16="http://schemas.microsoft.com/office/drawing/2014/main" id="{39E6AA40-1904-4941-8E7F-0215DBD28CC2}"/>
                </a:ext>
              </a:extLst>
            </p:cNvPr>
            <p:cNvGrpSpPr/>
            <p:nvPr/>
          </p:nvGrpSpPr>
          <p:grpSpPr>
            <a:xfrm>
              <a:off x="457200" y="579375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0DDFE0FF-3720-4E32-9088-3A2E4DB7DAD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983B941-0B83-4C76-BD09-79DCBB73F43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7" name="Rectangle 26">
            <a:extLst>
              <a:ext uri="{FF2B5EF4-FFF2-40B4-BE49-F238E27FC236}">
                <a16:creationId xmlns:a16="http://schemas.microsoft.com/office/drawing/2014/main" id="{23A63D8C-A2A6-4D29-BE0C-940A4A5FC1E8}"/>
              </a:ext>
            </a:extLst>
          </p:cNvPr>
          <p:cNvSpPr/>
          <p:nvPr/>
        </p:nvSpPr>
        <p:spPr>
          <a:xfrm>
            <a:off x="486472" y="5595932"/>
            <a:ext cx="11248328" cy="7953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Info</a:t>
            </a:r>
          </a:p>
        </p:txBody>
      </p:sp>
    </p:spTree>
    <p:extLst>
      <p:ext uri="{BB962C8B-B14F-4D97-AF65-F5344CB8AC3E}">
        <p14:creationId xmlns:p14="http://schemas.microsoft.com/office/powerpoint/2010/main" val="124759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cs typeface="Segoe UI"/>
              </a:rPr>
              <a:t>Project scope mapped to Testing scope</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Consider the following areas of your project scope and see how they are mapped to your testing scope</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 uri="{C183D7F6-B498-43B3-948B-1728B52AA6E4}">
                <adec:decorative xmlns:adec="http://schemas.microsoft.com/office/drawing/2017/decorative" val="1"/>
              </a:ext>
            </a:extLst>
          </p:cNvPr>
          <p:cNvSpPr/>
          <p:nvPr/>
        </p:nvSpPr>
        <p:spPr>
          <a:xfrm>
            <a:off x="538631" y="1711562"/>
            <a:ext cx="11277600" cy="47425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endParaRPr lang="en-US" sz="160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Example/Guide slide</a:t>
            </a:r>
          </a:p>
        </p:txBody>
      </p:sp>
      <p:pic>
        <p:nvPicPr>
          <p:cNvPr id="10" name="Picture 9" descr="Detailed table of example for mapping project scope to testing scope.">
            <a:extLst>
              <a:ext uri="{FF2B5EF4-FFF2-40B4-BE49-F238E27FC236}">
                <a16:creationId xmlns:a16="http://schemas.microsoft.com/office/drawing/2014/main" id="{4E5E4D04-A5B1-40E9-99C9-7F06769E763C}"/>
              </a:ext>
            </a:extLst>
          </p:cNvPr>
          <p:cNvPicPr>
            <a:picLocks noChangeAspect="1"/>
          </p:cNvPicPr>
          <p:nvPr/>
        </p:nvPicPr>
        <p:blipFill>
          <a:blip r:embed="rId3"/>
          <a:stretch>
            <a:fillRect/>
          </a:stretch>
        </p:blipFill>
        <p:spPr>
          <a:xfrm>
            <a:off x="457200" y="1655447"/>
            <a:ext cx="11435095" cy="4943680"/>
          </a:xfrm>
          <a:prstGeom prst="rect">
            <a:avLst/>
          </a:prstGeom>
        </p:spPr>
      </p:pic>
    </p:spTree>
    <p:extLst>
      <p:ext uri="{BB962C8B-B14F-4D97-AF65-F5344CB8AC3E}">
        <p14:creationId xmlns:p14="http://schemas.microsoft.com/office/powerpoint/2010/main" val="249578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Test Plan</a:t>
            </a:r>
          </a:p>
        </p:txBody>
      </p:sp>
    </p:spTree>
    <p:extLst>
      <p:ext uri="{BB962C8B-B14F-4D97-AF65-F5344CB8AC3E}">
        <p14:creationId xmlns:p14="http://schemas.microsoft.com/office/powerpoint/2010/main" val="122317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High-level Test Plan</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are the key test phases and test types represented in the Project plan?</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82002" y="1783166"/>
            <a:ext cx="11277600" cy="47853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Project plan related to testing (include key dependent milestone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86942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ZUh5iSLoFrIcqYQb1RT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Bxc8S_LxBA7bcotRSBV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FhW95ZLttomowezYY_q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k03ybN0nDduIIcszUuA4g"/>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065F4C41B5A7B8429FF294F25B39F0F9" ma:contentTypeVersion="7" ma:contentTypeDescription="Criar um novo documento." ma:contentTypeScope="" ma:versionID="5857d4e09d142c4848143921a401373a">
  <xsd:schema xmlns:xsd="http://www.w3.org/2001/XMLSchema" xmlns:xs="http://www.w3.org/2001/XMLSchema" xmlns:p="http://schemas.microsoft.com/office/2006/metadata/properties" xmlns:ns2="5d9dc20a-4b9c-4d41-8b34-245f91c5c2c8" xmlns:ns3="de009ef3-b450-4ef9-8e28-4c9a88cf9fef" targetNamespace="http://schemas.microsoft.com/office/2006/metadata/properties" ma:root="true" ma:fieldsID="4c390d7efed1347198e3eb3afa054c22" ns2:_="" ns3:_="">
    <xsd:import namespace="5d9dc20a-4b9c-4d41-8b34-245f91c5c2c8"/>
    <xsd:import namespace="de009ef3-b450-4ef9-8e28-4c9a88cf9fe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9dc20a-4b9c-4d41-8b34-245f91c5c2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009ef3-b450-4ef9-8e28-4c9a88cf9fef" elementFormDefault="qualified">
    <xsd:import namespace="http://schemas.microsoft.com/office/2006/documentManagement/types"/>
    <xsd:import namespace="http://schemas.microsoft.com/office/infopath/2007/PartnerControls"/>
    <xsd:element name="SharedWithUsers" ma:index="12" nillable="true" ma:displayName="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hes de Partilhado Com"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E1882E7-9227-4C06-A2E1-D3F4BF0D38BE}">
  <ds:schemaRefs>
    <ds:schemaRef ds:uri="http://schemas.microsoft.com/sharepoint/v3/contenttype/forms"/>
  </ds:schemaRefs>
</ds:datastoreItem>
</file>

<file path=customXml/itemProps2.xml><?xml version="1.0" encoding="utf-8"?>
<ds:datastoreItem xmlns:ds="http://schemas.openxmlformats.org/officeDocument/2006/customXml" ds:itemID="{ECDCC958-F9B7-4A9D-A132-CFBB1D745D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9dc20a-4b9c-4d41-8b34-245f91c5c2c8"/>
    <ds:schemaRef ds:uri="de009ef3-b450-4ef9-8e28-4c9a88cf9f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07D7729-9157-422A-A322-F886DC74C10E}">
  <ds:schemaRefs>
    <ds:schemaRef ds:uri="http://purl.org/dc/elements/1.1/"/>
    <ds:schemaRef ds:uri="http://schemas.microsoft.com/office/2006/metadata/properties"/>
    <ds:schemaRef ds:uri="21801293-8b26-4deb-98c0-71fc7c1e1877"/>
    <ds:schemaRef ds:uri="8e793c00-403c-4e2e-9f3f-1f9fce3bba0e"/>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http://www.w3.org/XML/1998/namespace"/>
    <ds:schemaRef ds:uri="http://purl.org/dc/dcmityp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6</TotalTime>
  <Words>1734</Words>
  <Application>Microsoft Office PowerPoint</Application>
  <PresentationFormat>Widescreen</PresentationFormat>
  <Paragraphs>173</Paragraphs>
  <Slides>38</Slides>
  <Notes>2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4" baseType="lpstr">
      <vt:lpstr>Segoe UI</vt:lpstr>
      <vt:lpstr>Calibri</vt:lpstr>
      <vt:lpstr>Arial</vt:lpstr>
      <vt:lpstr>Segoe UI Semibold</vt:lpstr>
      <vt:lpstr>Microsoft Dynamics 365</vt:lpstr>
      <vt:lpstr>think-cell Slide</vt:lpstr>
      <vt:lpstr>FastTrack for  Dynamics 365</vt:lpstr>
      <vt:lpstr>Test Strategy Workshop Agenda</vt:lpstr>
      <vt:lpstr>Overall Test Strategy</vt:lpstr>
      <vt:lpstr>Overall Test Strategy</vt:lpstr>
      <vt:lpstr>Project Scope mapped to Testing Scope</vt:lpstr>
      <vt:lpstr>Project scope mapped to Testing scope</vt:lpstr>
      <vt:lpstr>Project scope mapped to Testing scope</vt:lpstr>
      <vt:lpstr>Test Plan</vt:lpstr>
      <vt:lpstr>High-level Test Plan</vt:lpstr>
      <vt:lpstr>Test Phases and Test Types</vt:lpstr>
      <vt:lpstr>Testing types and phases</vt:lpstr>
      <vt:lpstr>Test Definition &amp; Test Management considerations</vt:lpstr>
      <vt:lpstr>Test Definition &amp; Test Management considerations</vt:lpstr>
      <vt:lpstr>Unit Testing</vt:lpstr>
      <vt:lpstr>Unit Testing</vt:lpstr>
      <vt:lpstr>Functional/Process Testing</vt:lpstr>
      <vt:lpstr>Functional/Process Testing</vt:lpstr>
      <vt:lpstr>System Integration Testing</vt:lpstr>
      <vt:lpstr>System Integration Testing</vt:lpstr>
      <vt:lpstr>End-to-End Testing</vt:lpstr>
      <vt:lpstr>End-to-End Testing</vt:lpstr>
      <vt:lpstr>User Acceptance Testing</vt:lpstr>
      <vt:lpstr>User Acceptance Testing</vt:lpstr>
      <vt:lpstr>Regression Testing</vt:lpstr>
      <vt:lpstr>Regression Testing</vt:lpstr>
      <vt:lpstr>Non-Functional Testing - Performance</vt:lpstr>
      <vt:lpstr>Performance Testing</vt:lpstr>
      <vt:lpstr>Non-Functional Testing - Data</vt:lpstr>
      <vt:lpstr>Data Testing</vt:lpstr>
      <vt:lpstr>Non-Functional Testing - Security</vt:lpstr>
      <vt:lpstr>Security Testing</vt:lpstr>
      <vt:lpstr>Test Tooling</vt:lpstr>
      <vt:lpstr>Tooling – Dynamics 365 CE</vt:lpstr>
      <vt:lpstr>Tooling – Dynamics 365 F&amp;O</vt:lpstr>
      <vt:lpstr>Q&amp;A and Next Steps</vt:lpstr>
      <vt:lpstr>Q&amp;A</vt:lpstr>
      <vt:lpstr>Next Steps and Agreed Actions</vt:lpstr>
      <vt:lpstr>Copyright 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dc:creator>Pedro Sacramento</dc:creator>
  <cp:lastModifiedBy>Julie Yack</cp:lastModifiedBy>
  <cp:revision>4</cp:revision>
  <dcterms:created xsi:type="dcterms:W3CDTF">2019-03-30T00:28:33Z</dcterms:created>
  <dcterms:modified xsi:type="dcterms:W3CDTF">2021-07-07T19:5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5F4C41B5A7B8429FF294F25B39F0F9</vt:lpwstr>
  </property>
  <property fmtid="{D5CDD505-2E9C-101B-9397-08002B2CF9AE}" pid="3" name="AuthorIds_UIVersion_512">
    <vt:lpwstr>68</vt:lpwstr>
  </property>
</Properties>
</file>